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  <p:sldMasterId id="2147483660" r:id="rId2"/>
  </p:sldMasterIdLst>
  <p:notesMasterIdLst>
    <p:notesMasterId r:id="rId19"/>
  </p:notesMasterIdLst>
  <p:sldIdLst>
    <p:sldId id="2816" r:id="rId3"/>
    <p:sldId id="2821" r:id="rId4"/>
    <p:sldId id="2982" r:id="rId5"/>
    <p:sldId id="26537" r:id="rId6"/>
    <p:sldId id="26536" r:id="rId7"/>
    <p:sldId id="2969" r:id="rId8"/>
    <p:sldId id="2977" r:id="rId9"/>
    <p:sldId id="2962" r:id="rId10"/>
    <p:sldId id="272" r:id="rId11"/>
    <p:sldId id="26419" r:id="rId12"/>
    <p:sldId id="2970" r:id="rId13"/>
    <p:sldId id="269" r:id="rId14"/>
    <p:sldId id="268" r:id="rId15"/>
    <p:sldId id="2971" r:id="rId16"/>
    <p:sldId id="2981" r:id="rId17"/>
    <p:sldId id="2818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Calibri Light" panose="020F0302020204030204" pitchFamily="34" charset="0"/>
      <p:regular r:id="rId24"/>
      <p:italic r:id="rId25"/>
    </p:embeddedFont>
    <p:embeddedFont>
      <p:font typeface="Gill Sans" panose="020B0604020202020204" charset="0"/>
      <p:regular r:id="rId26"/>
      <p:bold r:id="rId27"/>
    </p:embeddedFont>
    <p:embeddedFont>
      <p:font typeface="Gill Sans MT" panose="020B0502020104020203" pitchFamily="34" charset="0"/>
      <p:regular r:id="rId28"/>
      <p:bold r:id="rId29"/>
      <p:italic r:id="rId30"/>
      <p:boldItalic r:id="rId3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unice Huang" initials="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1199248-EB7A-4842-965D-6325B6DA0F07}">
  <a:tblStyle styleId="{81199248-EB7A-4842-965D-6325B6DA0F0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36" autoAdjust="0"/>
    <p:restoredTop sz="94660"/>
  </p:normalViewPr>
  <p:slideViewPr>
    <p:cSldViewPr snapToGrid="0">
      <p:cViewPr varScale="1">
        <p:scale>
          <a:sx n="53" d="100"/>
          <a:sy n="53" d="100"/>
        </p:scale>
        <p:origin x="154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6.fntdata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5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I SUOMINEN" userId="173c33f31711fa31" providerId="LiveId" clId="{D8955863-2EAF-4A2A-9852-8B0485A06485}"/>
    <pc:docChg chg="custSel addSld delSld modSld sldOrd">
      <pc:chgData name="KATI SUOMINEN" userId="173c33f31711fa31" providerId="LiveId" clId="{D8955863-2EAF-4A2A-9852-8B0485A06485}" dt="2022-04-27T14:59:47.830" v="178"/>
      <pc:docMkLst>
        <pc:docMk/>
      </pc:docMkLst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0" sldId="263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0" sldId="264"/>
        </pc:sldMkLst>
      </pc:sldChg>
      <pc:sldChg chg="ord">
        <pc:chgData name="KATI SUOMINEN" userId="173c33f31711fa31" providerId="LiveId" clId="{D8955863-2EAF-4A2A-9852-8B0485A06485}" dt="2022-04-27T08:12:38.014" v="167"/>
        <pc:sldMkLst>
          <pc:docMk/>
          <pc:sldMk cId="0" sldId="268"/>
        </pc:sldMkLst>
      </pc:sldChg>
      <pc:sldChg chg="ord">
        <pc:chgData name="KATI SUOMINEN" userId="173c33f31711fa31" providerId="LiveId" clId="{D8955863-2EAF-4A2A-9852-8B0485A06485}" dt="2022-04-27T14:59:47.830" v="178"/>
        <pc:sldMkLst>
          <pc:docMk/>
          <pc:sldMk cId="0" sldId="269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0" sldId="271"/>
        </pc:sldMkLst>
      </pc:sldChg>
      <pc:sldChg chg="ord">
        <pc:chgData name="KATI SUOMINEN" userId="173c33f31711fa31" providerId="LiveId" clId="{D8955863-2EAF-4A2A-9852-8B0485A06485}" dt="2022-04-26T04:07:13.413" v="2"/>
        <pc:sldMkLst>
          <pc:docMk/>
          <pc:sldMk cId="0" sldId="272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1684062356" sldId="286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65013397" sldId="288"/>
        </pc:sldMkLst>
      </pc:sldChg>
      <pc:sldChg chg="modSp mod">
        <pc:chgData name="KATI SUOMINEN" userId="173c33f31711fa31" providerId="LiveId" clId="{D8955863-2EAF-4A2A-9852-8B0485A06485}" dt="2022-04-27T14:57:02.926" v="169" actId="20577"/>
        <pc:sldMkLst>
          <pc:docMk/>
          <pc:sldMk cId="545741030" sldId="2816"/>
        </pc:sldMkLst>
        <pc:spChg chg="mod">
          <ac:chgData name="KATI SUOMINEN" userId="173c33f31711fa31" providerId="LiveId" clId="{D8955863-2EAF-4A2A-9852-8B0485A06485}" dt="2022-04-27T14:57:02.926" v="169" actId="20577"/>
          <ac:spMkLst>
            <pc:docMk/>
            <pc:sldMk cId="545741030" sldId="2816"/>
            <ac:spMk id="3" creationId="{AD53C59E-99A8-484F-A8C7-3CE13AD89DF6}"/>
          </ac:spMkLst>
        </pc:spChg>
      </pc:sldChg>
      <pc:sldChg chg="add">
        <pc:chgData name="KATI SUOMINEN" userId="173c33f31711fa31" providerId="LiveId" clId="{D8955863-2EAF-4A2A-9852-8B0485A06485}" dt="2022-04-26T04:06:39.384" v="0"/>
        <pc:sldMkLst>
          <pc:docMk/>
          <pc:sldMk cId="3000200638" sldId="2821"/>
        </pc:sldMkLst>
      </pc:sldChg>
      <pc:sldChg chg="ord">
        <pc:chgData name="KATI SUOMINEN" userId="173c33f31711fa31" providerId="LiveId" clId="{D8955863-2EAF-4A2A-9852-8B0485A06485}" dt="2022-04-27T08:12:31.523" v="165"/>
        <pc:sldMkLst>
          <pc:docMk/>
          <pc:sldMk cId="1079471778" sldId="2962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2509875786" sldId="2965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3586887717" sldId="2966"/>
        </pc:sldMkLst>
      </pc:sldChg>
      <pc:sldChg chg="add ord">
        <pc:chgData name="KATI SUOMINEN" userId="173c33f31711fa31" providerId="LiveId" clId="{D8955863-2EAF-4A2A-9852-8B0485A06485}" dt="2022-04-27T14:58:39.574" v="176"/>
        <pc:sldMkLst>
          <pc:docMk/>
          <pc:sldMk cId="4123794021" sldId="2968"/>
        </pc:sldMkLst>
      </pc:sldChg>
      <pc:sldChg chg="ord">
        <pc:chgData name="KATI SUOMINEN" userId="173c33f31711fa31" providerId="LiveId" clId="{D8955863-2EAF-4A2A-9852-8B0485A06485}" dt="2022-04-26T04:07:13.413" v="2"/>
        <pc:sldMkLst>
          <pc:docMk/>
          <pc:sldMk cId="2764733040" sldId="2970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4184695956" sldId="2972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3472219553" sldId="2973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62572558" sldId="2974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908978727" sldId="2975"/>
        </pc:sldMkLst>
      </pc:sldChg>
      <pc:sldChg chg="del">
        <pc:chgData name="KATI SUOMINEN" userId="173c33f31711fa31" providerId="LiveId" clId="{D8955863-2EAF-4A2A-9852-8B0485A06485}" dt="2022-04-26T04:07:56.932" v="5" actId="47"/>
        <pc:sldMkLst>
          <pc:docMk/>
          <pc:sldMk cId="1530869413" sldId="2976"/>
        </pc:sldMkLst>
      </pc:sldChg>
      <pc:sldChg chg="del">
        <pc:chgData name="KATI SUOMINEN" userId="173c33f31711fa31" providerId="LiveId" clId="{D8955863-2EAF-4A2A-9852-8B0485A06485}" dt="2022-04-26T04:07:21.569" v="3" actId="47"/>
        <pc:sldMkLst>
          <pc:docMk/>
          <pc:sldMk cId="1504469657" sldId="2978"/>
        </pc:sldMkLst>
      </pc:sldChg>
      <pc:sldChg chg="del">
        <pc:chgData name="KATI SUOMINEN" userId="173c33f31711fa31" providerId="LiveId" clId="{D8955863-2EAF-4A2A-9852-8B0485A06485}" dt="2022-04-26T04:07:21.569" v="3" actId="47"/>
        <pc:sldMkLst>
          <pc:docMk/>
          <pc:sldMk cId="650778676" sldId="2979"/>
        </pc:sldMkLst>
      </pc:sldChg>
      <pc:sldChg chg="addSp modSp add mod">
        <pc:chgData name="KATI SUOMINEN" userId="173c33f31711fa31" providerId="LiveId" clId="{D8955863-2EAF-4A2A-9852-8B0485A06485}" dt="2022-04-27T14:57:51.447" v="174" actId="207"/>
        <pc:sldMkLst>
          <pc:docMk/>
          <pc:sldMk cId="1240316218" sldId="2982"/>
        </pc:sldMkLst>
        <pc:spChg chg="add mod">
          <ac:chgData name="KATI SUOMINEN" userId="173c33f31711fa31" providerId="LiveId" clId="{D8955863-2EAF-4A2A-9852-8B0485A06485}" dt="2022-04-27T14:57:51.447" v="174" actId="207"/>
          <ac:spMkLst>
            <pc:docMk/>
            <pc:sldMk cId="1240316218" sldId="2982"/>
            <ac:spMk id="2" creationId="{00681F23-3B62-42FC-8AD9-45E0DFB24249}"/>
          </ac:spMkLst>
        </pc:spChg>
      </pc:sldChg>
      <pc:sldChg chg="add">
        <pc:chgData name="KATI SUOMINEN" userId="173c33f31711fa31" providerId="LiveId" clId="{D8955863-2EAF-4A2A-9852-8B0485A06485}" dt="2022-04-26T04:07:42.973" v="4"/>
        <pc:sldMkLst>
          <pc:docMk/>
          <pc:sldMk cId="2788814032" sldId="2983"/>
        </pc:sldMkLst>
      </pc:sldChg>
    </pc:docChg>
  </pc:docChgLst>
  <pc:docChgLst>
    <pc:chgData name="KATI SUOMINEN" userId="173c33f31711fa31" providerId="LiveId" clId="{C059D097-82AD-40AF-BFA4-1EE7DB5D3824}"/>
    <pc:docChg chg="custSel addSld delSld modSld sldOrd">
      <pc:chgData name="KATI SUOMINEN" userId="173c33f31711fa31" providerId="LiveId" clId="{C059D097-82AD-40AF-BFA4-1EE7DB5D3824}" dt="2022-05-13T13:58:27.740" v="1071"/>
      <pc:docMkLst>
        <pc:docMk/>
      </pc:docMkLst>
      <pc:sldChg chg="addSp modSp ord">
        <pc:chgData name="KATI SUOMINEN" userId="173c33f31711fa31" providerId="LiveId" clId="{C059D097-82AD-40AF-BFA4-1EE7DB5D3824}" dt="2022-05-13T05:30:46.601" v="1034"/>
        <pc:sldMkLst>
          <pc:docMk/>
          <pc:sldMk cId="0" sldId="268"/>
        </pc:sldMkLst>
        <pc:spChg chg="add mod">
          <ac:chgData name="KATI SUOMINEN" userId="173c33f31711fa31" providerId="LiveId" clId="{C059D097-82AD-40AF-BFA4-1EE7DB5D3824}" dt="2022-05-13T05:30:46.601" v="1034"/>
          <ac:spMkLst>
            <pc:docMk/>
            <pc:sldMk cId="0" sldId="268"/>
            <ac:spMk id="4" creationId="{97A891CE-9B15-DBD1-923C-26C0E1252446}"/>
          </ac:spMkLst>
        </pc:spChg>
      </pc:sldChg>
      <pc:sldChg chg="ord">
        <pc:chgData name="KATI SUOMINEN" userId="173c33f31711fa31" providerId="LiveId" clId="{C059D097-82AD-40AF-BFA4-1EE7DB5D3824}" dt="2022-05-13T13:58:11.792" v="1062"/>
        <pc:sldMkLst>
          <pc:docMk/>
          <pc:sldMk cId="0" sldId="269"/>
        </pc:sldMkLst>
      </pc:sldChg>
      <pc:sldChg chg="ord">
        <pc:chgData name="KATI SUOMINEN" userId="173c33f31711fa31" providerId="LiveId" clId="{C059D097-82AD-40AF-BFA4-1EE7DB5D3824}" dt="2022-05-13T03:41:28.528" v="7"/>
        <pc:sldMkLst>
          <pc:docMk/>
          <pc:sldMk cId="0" sldId="272"/>
        </pc:sldMkLst>
      </pc:sldChg>
      <pc:sldChg chg="modSp mod">
        <pc:chgData name="KATI SUOMINEN" userId="173c33f31711fa31" providerId="LiveId" clId="{C059D097-82AD-40AF-BFA4-1EE7DB5D3824}" dt="2022-05-13T08:08:36.460" v="1055" actId="6549"/>
        <pc:sldMkLst>
          <pc:docMk/>
          <pc:sldMk cId="545741030" sldId="2816"/>
        </pc:sldMkLst>
        <pc:spChg chg="mod">
          <ac:chgData name="KATI SUOMINEN" userId="173c33f31711fa31" providerId="LiveId" clId="{C059D097-82AD-40AF-BFA4-1EE7DB5D3824}" dt="2022-05-13T08:08:36.460" v="1055" actId="6549"/>
          <ac:spMkLst>
            <pc:docMk/>
            <pc:sldMk cId="545741030" sldId="2816"/>
            <ac:spMk id="3" creationId="{AD53C59E-99A8-484F-A8C7-3CE13AD89DF6}"/>
          </ac:spMkLst>
        </pc:spChg>
      </pc:sldChg>
      <pc:sldChg chg="ord">
        <pc:chgData name="KATI SUOMINEN" userId="173c33f31711fa31" providerId="LiveId" clId="{C059D097-82AD-40AF-BFA4-1EE7DB5D3824}" dt="2022-05-13T03:41:45.044" v="19"/>
        <pc:sldMkLst>
          <pc:docMk/>
          <pc:sldMk cId="2964278090" sldId="2818"/>
        </pc:sldMkLst>
      </pc:sldChg>
      <pc:sldChg chg="addSp modSp">
        <pc:chgData name="KATI SUOMINEN" userId="173c33f31711fa31" providerId="LiveId" clId="{C059D097-82AD-40AF-BFA4-1EE7DB5D3824}" dt="2022-05-13T05:30:10.950" v="1023"/>
        <pc:sldMkLst>
          <pc:docMk/>
          <pc:sldMk cId="1079471778" sldId="2962"/>
        </pc:sldMkLst>
        <pc:spChg chg="add mod">
          <ac:chgData name="KATI SUOMINEN" userId="173c33f31711fa31" providerId="LiveId" clId="{C059D097-82AD-40AF-BFA4-1EE7DB5D3824}" dt="2022-05-13T05:30:10.950" v="1023"/>
          <ac:spMkLst>
            <pc:docMk/>
            <pc:sldMk cId="1079471778" sldId="2962"/>
            <ac:spMk id="11" creationId="{93440140-09BA-B85F-802E-BA69CAD07FA7}"/>
          </ac:spMkLst>
        </pc:spChg>
      </pc:sldChg>
      <pc:sldChg chg="del ord">
        <pc:chgData name="KATI SUOMINEN" userId="173c33f31711fa31" providerId="LiveId" clId="{C059D097-82AD-40AF-BFA4-1EE7DB5D3824}" dt="2022-05-13T13:56:35.752" v="1058" actId="47"/>
        <pc:sldMkLst>
          <pc:docMk/>
          <pc:sldMk cId="4123794021" sldId="2968"/>
        </pc:sldMkLst>
      </pc:sldChg>
      <pc:sldChg chg="addSp modSp mod ord">
        <pc:chgData name="KATI SUOMINEN" userId="173c33f31711fa31" providerId="LiveId" clId="{C059D097-82AD-40AF-BFA4-1EE7DB5D3824}" dt="2022-05-13T05:30:08.316" v="1022" actId="1076"/>
        <pc:sldMkLst>
          <pc:docMk/>
          <pc:sldMk cId="3299248865" sldId="2969"/>
        </pc:sldMkLst>
        <pc:spChg chg="add mod">
          <ac:chgData name="KATI SUOMINEN" userId="173c33f31711fa31" providerId="LiveId" clId="{C059D097-82AD-40AF-BFA4-1EE7DB5D3824}" dt="2022-05-13T05:30:08.316" v="1022" actId="1076"/>
          <ac:spMkLst>
            <pc:docMk/>
            <pc:sldMk cId="3299248865" sldId="2969"/>
            <ac:spMk id="11" creationId="{D842C719-949A-D4C6-F59E-927F9D363610}"/>
          </ac:spMkLst>
        </pc:spChg>
      </pc:sldChg>
      <pc:sldChg chg="addSp modSp mod ord">
        <pc:chgData name="KATI SUOMINEN" userId="173c33f31711fa31" providerId="LiveId" clId="{C059D097-82AD-40AF-BFA4-1EE7DB5D3824}" dt="2022-05-13T13:58:07.704" v="1060"/>
        <pc:sldMkLst>
          <pc:docMk/>
          <pc:sldMk cId="2764733040" sldId="2970"/>
        </pc:sldMkLst>
        <pc:spChg chg="add mod">
          <ac:chgData name="KATI SUOMINEN" userId="173c33f31711fa31" providerId="LiveId" clId="{C059D097-82AD-40AF-BFA4-1EE7DB5D3824}" dt="2022-05-13T05:31:08.262" v="1037" actId="1076"/>
          <ac:spMkLst>
            <pc:docMk/>
            <pc:sldMk cId="2764733040" sldId="2970"/>
            <ac:spMk id="12" creationId="{32EF5338-7AA5-0AF5-F91B-D111D8C7BAFF}"/>
          </ac:spMkLst>
        </pc:spChg>
      </pc:sldChg>
      <pc:sldChg chg="modSp mod ord">
        <pc:chgData name="KATI SUOMINEN" userId="173c33f31711fa31" providerId="LiveId" clId="{C059D097-82AD-40AF-BFA4-1EE7DB5D3824}" dt="2022-05-13T13:58:20.290" v="1069" actId="20577"/>
        <pc:sldMkLst>
          <pc:docMk/>
          <pc:sldMk cId="1159232395" sldId="2971"/>
        </pc:sldMkLst>
        <pc:spChg chg="mod">
          <ac:chgData name="KATI SUOMINEN" userId="173c33f31711fa31" providerId="LiveId" clId="{C059D097-82AD-40AF-BFA4-1EE7DB5D3824}" dt="2022-05-13T05:31:19.464" v="1039" actId="1076"/>
          <ac:spMkLst>
            <pc:docMk/>
            <pc:sldMk cId="1159232395" sldId="2971"/>
            <ac:spMk id="3" creationId="{D63C6461-AF26-4A49-BA9D-F74C52269E6E}"/>
          </ac:spMkLst>
        </pc:spChg>
        <pc:spChg chg="mod">
          <ac:chgData name="KATI SUOMINEN" userId="173c33f31711fa31" providerId="LiveId" clId="{C059D097-82AD-40AF-BFA4-1EE7DB5D3824}" dt="2022-05-13T13:58:20.290" v="1069" actId="20577"/>
          <ac:spMkLst>
            <pc:docMk/>
            <pc:sldMk cId="1159232395" sldId="2971"/>
            <ac:spMk id="4" creationId="{DF9D9F12-C426-44C7-B931-70AB675AD3AF}"/>
          </ac:spMkLst>
        </pc:spChg>
      </pc:sldChg>
      <pc:sldChg chg="addSp modSp mod ord">
        <pc:chgData name="KATI SUOMINEN" userId="173c33f31711fa31" providerId="LiveId" clId="{C059D097-82AD-40AF-BFA4-1EE7DB5D3824}" dt="2022-05-13T13:58:27.740" v="1071"/>
        <pc:sldMkLst>
          <pc:docMk/>
          <pc:sldMk cId="3267983773" sldId="2977"/>
        </pc:sldMkLst>
        <pc:spChg chg="add mod">
          <ac:chgData name="KATI SUOMINEN" userId="173c33f31711fa31" providerId="LiveId" clId="{C059D097-82AD-40AF-BFA4-1EE7DB5D3824}" dt="2022-05-13T05:30:22.448" v="1025" actId="14100"/>
          <ac:spMkLst>
            <pc:docMk/>
            <pc:sldMk cId="3267983773" sldId="2977"/>
            <ac:spMk id="5" creationId="{CE1A022C-F43A-28D2-BAB2-3215C551969F}"/>
          </ac:spMkLst>
        </pc:spChg>
        <pc:picChg chg="mod">
          <ac:chgData name="KATI SUOMINEN" userId="173c33f31711fa31" providerId="LiveId" clId="{C059D097-82AD-40AF-BFA4-1EE7DB5D3824}" dt="2022-05-13T05:30:28.032" v="1028" actId="1076"/>
          <ac:picMkLst>
            <pc:docMk/>
            <pc:sldMk cId="3267983773" sldId="2977"/>
            <ac:picMk id="2" creationId="{832E55D2-E63B-4BC6-94DC-9A210A369C67}"/>
          </ac:picMkLst>
        </pc:picChg>
      </pc:sldChg>
      <pc:sldChg chg="del">
        <pc:chgData name="KATI SUOMINEN" userId="173c33f31711fa31" providerId="LiveId" clId="{C059D097-82AD-40AF-BFA4-1EE7DB5D3824}" dt="2022-05-13T03:41:50.801" v="20" actId="47"/>
        <pc:sldMkLst>
          <pc:docMk/>
          <pc:sldMk cId="2247065330" sldId="2980"/>
        </pc:sldMkLst>
      </pc:sldChg>
      <pc:sldChg chg="ord">
        <pc:chgData name="KATI SUOMINEN" userId="173c33f31711fa31" providerId="LiveId" clId="{C059D097-82AD-40AF-BFA4-1EE7DB5D3824}" dt="2022-05-13T03:41:42.203" v="15"/>
        <pc:sldMkLst>
          <pc:docMk/>
          <pc:sldMk cId="1345244154" sldId="2981"/>
        </pc:sldMkLst>
      </pc:sldChg>
      <pc:sldChg chg="del">
        <pc:chgData name="KATI SUOMINEN" userId="173c33f31711fa31" providerId="LiveId" clId="{C059D097-82AD-40AF-BFA4-1EE7DB5D3824}" dt="2022-05-13T05:31:33.724" v="1040" actId="47"/>
        <pc:sldMkLst>
          <pc:docMk/>
          <pc:sldMk cId="2788814032" sldId="2983"/>
        </pc:sldMkLst>
      </pc:sldChg>
      <pc:sldChg chg="addSp modSp add mod ord">
        <pc:chgData name="KATI SUOMINEN" userId="173c33f31711fa31" providerId="LiveId" clId="{C059D097-82AD-40AF-BFA4-1EE7DB5D3824}" dt="2022-05-13T05:30:40.377" v="1033" actId="6549"/>
        <pc:sldMkLst>
          <pc:docMk/>
          <pc:sldMk cId="3586642692" sldId="26419"/>
        </pc:sldMkLst>
        <pc:spChg chg="mod">
          <ac:chgData name="KATI SUOMINEN" userId="173c33f31711fa31" providerId="LiveId" clId="{C059D097-82AD-40AF-BFA4-1EE7DB5D3824}" dt="2022-05-13T05:10:49.700" v="25" actId="20577"/>
          <ac:spMkLst>
            <pc:docMk/>
            <pc:sldMk cId="3586642692" sldId="26419"/>
            <ac:spMk id="2" creationId="{9B5DDF63-D570-40BB-8FD4-929A885A4F61}"/>
          </ac:spMkLst>
        </pc:spChg>
        <pc:spChg chg="add mod">
          <ac:chgData name="KATI SUOMINEN" userId="173c33f31711fa31" providerId="LiveId" clId="{C059D097-82AD-40AF-BFA4-1EE7DB5D3824}" dt="2022-05-13T05:30:40.377" v="1033" actId="6549"/>
          <ac:spMkLst>
            <pc:docMk/>
            <pc:sldMk cId="3586642692" sldId="26419"/>
            <ac:spMk id="4" creationId="{63DC178E-7B76-FEF9-D370-6C9266815784}"/>
          </ac:spMkLst>
        </pc:spChg>
      </pc:sldChg>
      <pc:sldChg chg="add ord">
        <pc:chgData name="KATI SUOMINEN" userId="173c33f31711fa31" providerId="LiveId" clId="{C059D097-82AD-40AF-BFA4-1EE7DB5D3824}" dt="2022-05-13T13:56:33.113" v="1057"/>
        <pc:sldMkLst>
          <pc:docMk/>
          <pc:sldMk cId="1180366257" sldId="26536"/>
        </pc:sldMkLst>
      </pc:sldChg>
      <pc:sldChg chg="addSp delSp modSp add mod">
        <pc:chgData name="KATI SUOMINEN" userId="173c33f31711fa31" providerId="LiveId" clId="{C059D097-82AD-40AF-BFA4-1EE7DB5D3824}" dt="2022-05-13T05:29:39.371" v="1015" actId="1076"/>
        <pc:sldMkLst>
          <pc:docMk/>
          <pc:sldMk cId="1196405292" sldId="26537"/>
        </pc:sldMkLst>
        <pc:spChg chg="mod">
          <ac:chgData name="KATI SUOMINEN" userId="173c33f31711fa31" providerId="LiveId" clId="{C059D097-82AD-40AF-BFA4-1EE7DB5D3824}" dt="2022-05-13T05:27:51.255" v="974" actId="1076"/>
          <ac:spMkLst>
            <pc:docMk/>
            <pc:sldMk cId="1196405292" sldId="26537"/>
            <ac:spMk id="3" creationId="{D63C6461-AF26-4A49-BA9D-F74C52269E6E}"/>
          </ac:spMkLst>
        </pc:spChg>
        <pc:spChg chg="del">
          <ac:chgData name="KATI SUOMINEN" userId="173c33f31711fa31" providerId="LiveId" clId="{C059D097-82AD-40AF-BFA4-1EE7DB5D3824}" dt="2022-05-13T05:11:41.982" v="158" actId="478"/>
          <ac:spMkLst>
            <pc:docMk/>
            <pc:sldMk cId="1196405292" sldId="26537"/>
            <ac:spMk id="11" creationId="{7698E467-F783-42CC-B2E2-DEE991E481EA}"/>
          </ac:spMkLst>
        </pc:spChg>
        <pc:spChg chg="del">
          <ac:chgData name="KATI SUOMINEN" userId="173c33f31711fa31" providerId="LiveId" clId="{C059D097-82AD-40AF-BFA4-1EE7DB5D3824}" dt="2022-05-13T05:18:41.329" v="519" actId="478"/>
          <ac:spMkLst>
            <pc:docMk/>
            <pc:sldMk cId="1196405292" sldId="26537"/>
            <ac:spMk id="12" creationId="{B8E57CE1-DDBF-4E37-88FA-0B86602DDD79}"/>
          </ac:spMkLst>
        </pc:spChg>
        <pc:spChg chg="add mod">
          <ac:chgData name="KATI SUOMINEN" userId="173c33f31711fa31" providerId="LiveId" clId="{C059D097-82AD-40AF-BFA4-1EE7DB5D3824}" dt="2022-05-13T05:28:50.243" v="1006" actId="1076"/>
          <ac:spMkLst>
            <pc:docMk/>
            <pc:sldMk cId="1196405292" sldId="26537"/>
            <ac:spMk id="13" creationId="{3FB8C5A6-2307-7AD6-517A-E7E12FC19CBE}"/>
          </ac:spMkLst>
        </pc:spChg>
        <pc:spChg chg="add mod">
          <ac:chgData name="KATI SUOMINEN" userId="173c33f31711fa31" providerId="LiveId" clId="{C059D097-82AD-40AF-BFA4-1EE7DB5D3824}" dt="2022-05-13T05:28:42.623" v="1003" actId="1076"/>
          <ac:spMkLst>
            <pc:docMk/>
            <pc:sldMk cId="1196405292" sldId="26537"/>
            <ac:spMk id="14" creationId="{5B3595B8-A6F2-5D20-4A56-4A876ECFEAFB}"/>
          </ac:spMkLst>
        </pc:spChg>
        <pc:spChg chg="add mod">
          <ac:chgData name="KATI SUOMINEN" userId="173c33f31711fa31" providerId="LiveId" clId="{C059D097-82AD-40AF-BFA4-1EE7DB5D3824}" dt="2022-05-13T05:29:39.371" v="1015" actId="1076"/>
          <ac:spMkLst>
            <pc:docMk/>
            <pc:sldMk cId="1196405292" sldId="26537"/>
            <ac:spMk id="24" creationId="{19B4E42B-D6CE-5A7E-D49E-CBF1BEDDCD8D}"/>
          </ac:spMkLst>
        </pc:spChg>
        <pc:picChg chg="del">
          <ac:chgData name="KATI SUOMINEN" userId="173c33f31711fa31" providerId="LiveId" clId="{C059D097-82AD-40AF-BFA4-1EE7DB5D3824}" dt="2022-05-13T05:11:41.982" v="158" actId="478"/>
          <ac:picMkLst>
            <pc:docMk/>
            <pc:sldMk cId="1196405292" sldId="26537"/>
            <ac:picMk id="2" creationId="{7725F651-DD95-4AB0-A171-E90A7F435763}"/>
          </ac:picMkLst>
        </pc:picChg>
        <pc:picChg chg="add mod">
          <ac:chgData name="KATI SUOMINEN" userId="173c33f31711fa31" providerId="LiveId" clId="{C059D097-82AD-40AF-BFA4-1EE7DB5D3824}" dt="2022-05-13T05:27:48.676" v="973" actId="1076"/>
          <ac:picMkLst>
            <pc:docMk/>
            <pc:sldMk cId="1196405292" sldId="26537"/>
            <ac:picMk id="4" creationId="{726D6BF8-5A1D-A526-2363-F9A69641AC56}"/>
          </ac:picMkLst>
        </pc:picChg>
        <pc:picChg chg="del">
          <ac:chgData name="KATI SUOMINEN" userId="173c33f31711fa31" providerId="LiveId" clId="{C059D097-82AD-40AF-BFA4-1EE7DB5D3824}" dt="2022-05-13T05:11:41.982" v="158" actId="478"/>
          <ac:picMkLst>
            <pc:docMk/>
            <pc:sldMk cId="1196405292" sldId="26537"/>
            <ac:picMk id="6" creationId="{B38E7DA6-E659-42F7-8869-F087277C5BC5}"/>
          </ac:picMkLst>
        </pc:picChg>
        <pc:picChg chg="add del mod modCrop">
          <ac:chgData name="KATI SUOMINEN" userId="173c33f31711fa31" providerId="LiveId" clId="{C059D097-82AD-40AF-BFA4-1EE7DB5D3824}" dt="2022-05-13T05:17:39.197" v="498" actId="478"/>
          <ac:picMkLst>
            <pc:docMk/>
            <pc:sldMk cId="1196405292" sldId="26537"/>
            <ac:picMk id="7" creationId="{FB503CD5-02FC-0108-A30B-A6BDF865AF2C}"/>
          </ac:picMkLst>
        </pc:picChg>
        <pc:picChg chg="add del mod">
          <ac:chgData name="KATI SUOMINEN" userId="173c33f31711fa31" providerId="LiveId" clId="{C059D097-82AD-40AF-BFA4-1EE7DB5D3824}" dt="2022-05-13T05:23:38.525" v="877" actId="478"/>
          <ac:picMkLst>
            <pc:docMk/>
            <pc:sldMk cId="1196405292" sldId="26537"/>
            <ac:picMk id="8" creationId="{B1A42EC0-62F4-7287-A5BA-E81781F3438F}"/>
          </ac:picMkLst>
        </pc:picChg>
        <pc:picChg chg="add del mod">
          <ac:chgData name="KATI SUOMINEN" userId="173c33f31711fa31" providerId="LiveId" clId="{C059D097-82AD-40AF-BFA4-1EE7DB5D3824}" dt="2022-05-13T05:24:12.570" v="886" actId="478"/>
          <ac:picMkLst>
            <pc:docMk/>
            <pc:sldMk cId="1196405292" sldId="26537"/>
            <ac:picMk id="9" creationId="{88F6480B-F702-6EA9-A2BA-AB11B3477891}"/>
          </ac:picMkLst>
        </pc:picChg>
        <pc:picChg chg="del">
          <ac:chgData name="KATI SUOMINEN" userId="173c33f31711fa31" providerId="LiveId" clId="{C059D097-82AD-40AF-BFA4-1EE7DB5D3824}" dt="2022-05-13T05:11:41.982" v="158" actId="478"/>
          <ac:picMkLst>
            <pc:docMk/>
            <pc:sldMk cId="1196405292" sldId="26537"/>
            <ac:picMk id="10" creationId="{F9C5231F-9665-4593-AA62-2AF3A28969DF}"/>
          </ac:picMkLst>
        </pc:picChg>
        <pc:picChg chg="add del">
          <ac:chgData name="KATI SUOMINEN" userId="173c33f31711fa31" providerId="LiveId" clId="{C059D097-82AD-40AF-BFA4-1EE7DB5D3824}" dt="2022-05-13T05:24:11.654" v="885" actId="478"/>
          <ac:picMkLst>
            <pc:docMk/>
            <pc:sldMk cId="1196405292" sldId="26537"/>
            <ac:picMk id="15" creationId="{67E2CC1F-EFD0-9930-AE1C-5AB6828388FC}"/>
          </ac:picMkLst>
        </pc:picChg>
        <pc:picChg chg="add mod">
          <ac:chgData name="KATI SUOMINEN" userId="173c33f31711fa31" providerId="LiveId" clId="{C059D097-82AD-40AF-BFA4-1EE7DB5D3824}" dt="2022-05-13T05:27:56.502" v="977" actId="1076"/>
          <ac:picMkLst>
            <pc:docMk/>
            <pc:sldMk cId="1196405292" sldId="26537"/>
            <ac:picMk id="16" creationId="{6577BAC3-8393-39A1-41D5-E2D4D74F5E66}"/>
          </ac:picMkLst>
        </pc:picChg>
        <pc:picChg chg="add del mod modCrop">
          <ac:chgData name="KATI SUOMINEN" userId="173c33f31711fa31" providerId="LiveId" clId="{C059D097-82AD-40AF-BFA4-1EE7DB5D3824}" dt="2022-05-13T05:26:30.644" v="911" actId="478"/>
          <ac:picMkLst>
            <pc:docMk/>
            <pc:sldMk cId="1196405292" sldId="26537"/>
            <ac:picMk id="17" creationId="{40CDE8F7-A18C-B60B-CBF9-1C5151E9CD1D}"/>
          </ac:picMkLst>
        </pc:picChg>
        <pc:picChg chg="add mod modCrop">
          <ac:chgData name="KATI SUOMINEN" userId="173c33f31711fa31" providerId="LiveId" clId="{C059D097-82AD-40AF-BFA4-1EE7DB5D3824}" dt="2022-05-13T05:27:46.342" v="972" actId="1076"/>
          <ac:picMkLst>
            <pc:docMk/>
            <pc:sldMk cId="1196405292" sldId="26537"/>
            <ac:picMk id="19" creationId="{56DEDE78-AECB-F7FF-D524-54AEBDF8A372}"/>
          </ac:picMkLst>
        </pc:picChg>
        <pc:cxnChg chg="add mod">
          <ac:chgData name="KATI SUOMINEN" userId="173c33f31711fa31" providerId="LiveId" clId="{C059D097-82AD-40AF-BFA4-1EE7DB5D3824}" dt="2022-05-13T05:27:13.768" v="926" actId="1076"/>
          <ac:cxnSpMkLst>
            <pc:docMk/>
            <pc:sldMk cId="1196405292" sldId="26537"/>
            <ac:cxnSpMk id="21" creationId="{E81B5DB7-5966-E9E7-9D51-ED84B1C09D90}"/>
          </ac:cxnSpMkLst>
        </pc:cxnChg>
      </pc:sldChg>
    </pc:docChg>
  </pc:docChgLst>
  <pc:docChgLst>
    <pc:chgData name="KATI SUOMINEN" userId="173c33f31711fa31" providerId="LiveId" clId="{FAA01093-06E8-48F0-B495-04258EF6ACFB}"/>
    <pc:docChg chg="modSld sldOrd">
      <pc:chgData name="KATI SUOMINEN" userId="173c33f31711fa31" providerId="LiveId" clId="{FAA01093-06E8-48F0-B495-04258EF6ACFB}" dt="2022-06-15T09:26:40.194" v="3"/>
      <pc:docMkLst>
        <pc:docMk/>
      </pc:docMkLst>
      <pc:sldChg chg="ord">
        <pc:chgData name="KATI SUOMINEN" userId="173c33f31711fa31" providerId="LiveId" clId="{FAA01093-06E8-48F0-B495-04258EF6ACFB}" dt="2022-06-15T09:26:40.194" v="3"/>
        <pc:sldMkLst>
          <pc:docMk/>
          <pc:sldMk cId="3267983773" sldId="297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g8b70ab096a_0_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" name="Google Shape;111;g8b70ab096a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4837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2" name="Google Shape;212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87" name="Google Shape;187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1" name="Google Shape;181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1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814053-73FC-48AF-ACAC-68D5005CB3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222B3C-65B0-4720-AD09-1889255D73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4" indent="0" algn="ctr">
              <a:buNone/>
              <a:defRPr sz="2000"/>
            </a:lvl2pPr>
            <a:lvl3pPr marL="914428" indent="0" algn="ctr">
              <a:buNone/>
              <a:defRPr sz="1800"/>
            </a:lvl3pPr>
            <a:lvl4pPr marL="1371643" indent="0" algn="ctr">
              <a:buNone/>
              <a:defRPr sz="1600"/>
            </a:lvl4pPr>
            <a:lvl5pPr marL="1828857" indent="0" algn="ctr">
              <a:buNone/>
              <a:defRPr sz="1600"/>
            </a:lvl5pPr>
            <a:lvl6pPr marL="2286071" indent="0" algn="ctr">
              <a:buNone/>
              <a:defRPr sz="1600"/>
            </a:lvl6pPr>
            <a:lvl7pPr marL="2743285" indent="0" algn="ctr">
              <a:buNone/>
              <a:defRPr sz="1600"/>
            </a:lvl7pPr>
            <a:lvl8pPr marL="3200500" indent="0" algn="ctr">
              <a:buNone/>
              <a:defRPr sz="1600"/>
            </a:lvl8pPr>
            <a:lvl9pPr marL="365771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70C34C-D9F1-42D0-947C-2429B2D05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073484-B0F5-4518-9B95-3EF464412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93C400-C005-492E-99E4-B56F27BE8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4799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C55100-3006-4A84-A846-CB3663BEC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524BFA-5EB2-4A3E-8FDC-268508279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021949-7D12-4D04-84A4-55266D5B2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70BDCD-7173-403A-8FF9-23FFE2019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BF780A-F1A5-48CB-85FC-711752210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9910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46341-39BB-4270-9F73-5EF75F935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764103-1AD2-4103-8176-EA8378CBF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1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2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8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DE5494C-8F0A-4832-BAE5-A2E8B40A07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BD9AB8-DBEC-416D-9DA2-88E10ECC3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B8F091-016D-43CE-B0AC-B37364113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040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AAA7EC-44AC-4816-8DCC-23AD380DE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2DB550-5B13-4FEC-AE9B-67D58341187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DBC500-5437-4B54-AB6E-27BE7327E5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2CEACD-D8B5-4831-9725-C178669E4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3DAA23-D571-4433-93E7-4DE9C16D63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541266-C832-42B1-9F73-303079892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0517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AC3A36-3197-47D3-998B-1DF2F38DD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E0C8FD-D465-48B5-94A4-64C764A84A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4" indent="0">
              <a:buNone/>
              <a:defRPr sz="2000" b="1"/>
            </a:lvl2pPr>
            <a:lvl3pPr marL="914428" indent="0">
              <a:buNone/>
              <a:defRPr sz="1800" b="1"/>
            </a:lvl3pPr>
            <a:lvl4pPr marL="1371643" indent="0">
              <a:buNone/>
              <a:defRPr sz="1600" b="1"/>
            </a:lvl4pPr>
            <a:lvl5pPr marL="1828857" indent="0">
              <a:buNone/>
              <a:defRPr sz="1600" b="1"/>
            </a:lvl5pPr>
            <a:lvl6pPr marL="2286071" indent="0">
              <a:buNone/>
              <a:defRPr sz="1600" b="1"/>
            </a:lvl6pPr>
            <a:lvl7pPr marL="2743285" indent="0">
              <a:buNone/>
              <a:defRPr sz="1600" b="1"/>
            </a:lvl7pPr>
            <a:lvl8pPr marL="3200500" indent="0">
              <a:buNone/>
              <a:defRPr sz="1600" b="1"/>
            </a:lvl8pPr>
            <a:lvl9pPr marL="365771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4842449-E734-44BF-A4ED-55792C888B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A64E36-66EC-4A96-9E3D-3C31085A975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14" indent="0">
              <a:buNone/>
              <a:defRPr sz="2000" b="1"/>
            </a:lvl2pPr>
            <a:lvl3pPr marL="914428" indent="0">
              <a:buNone/>
              <a:defRPr sz="1800" b="1"/>
            </a:lvl3pPr>
            <a:lvl4pPr marL="1371643" indent="0">
              <a:buNone/>
              <a:defRPr sz="1600" b="1"/>
            </a:lvl4pPr>
            <a:lvl5pPr marL="1828857" indent="0">
              <a:buNone/>
              <a:defRPr sz="1600" b="1"/>
            </a:lvl5pPr>
            <a:lvl6pPr marL="2286071" indent="0">
              <a:buNone/>
              <a:defRPr sz="1600" b="1"/>
            </a:lvl6pPr>
            <a:lvl7pPr marL="2743285" indent="0">
              <a:buNone/>
              <a:defRPr sz="1600" b="1"/>
            </a:lvl7pPr>
            <a:lvl8pPr marL="3200500" indent="0">
              <a:buNone/>
              <a:defRPr sz="1600" b="1"/>
            </a:lvl8pPr>
            <a:lvl9pPr marL="365771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451BC90-822E-43F0-867D-A4FACADE27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8B83F2D-18BD-4074-911B-6FEEB7DC42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5F35C39-1ABB-47CA-84B7-C76174FF1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221851-D5EF-4A78-913D-6D2AE0082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0214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E47E4D-484D-4DC0-8ED6-D2B49C126A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ECC94B0-EFF1-458D-9E23-0F512872E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F6DCA4-35C5-4AAA-8572-34BBA0FC20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DA8AC9-9CF4-45CA-BAD8-DF48DC42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1146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990E3D-3F76-4A16-BC5F-F89B9DEFC7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6AF9EE-FD91-4849-A395-D3FACAD9B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714BD4-17F2-4DF5-BD50-96986C9DA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094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A4B9E-67F7-4D69-9C00-B81ABCF4B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82124F-55E7-4D9F-928E-6C80E4A886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1CFC29-9748-459A-8D4B-0A0FAADEA4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4" indent="0">
              <a:buNone/>
              <a:defRPr sz="1400"/>
            </a:lvl2pPr>
            <a:lvl3pPr marL="914428" indent="0">
              <a:buNone/>
              <a:defRPr sz="1200"/>
            </a:lvl3pPr>
            <a:lvl4pPr marL="1371643" indent="0">
              <a:buNone/>
              <a:defRPr sz="1000"/>
            </a:lvl4pPr>
            <a:lvl5pPr marL="1828857" indent="0">
              <a:buNone/>
              <a:defRPr sz="1000"/>
            </a:lvl5pPr>
            <a:lvl6pPr marL="2286071" indent="0">
              <a:buNone/>
              <a:defRPr sz="1000"/>
            </a:lvl6pPr>
            <a:lvl7pPr marL="2743285" indent="0">
              <a:buNone/>
              <a:defRPr sz="1000"/>
            </a:lvl7pPr>
            <a:lvl8pPr marL="3200500" indent="0">
              <a:buNone/>
              <a:defRPr sz="1000"/>
            </a:lvl8pPr>
            <a:lvl9pPr marL="365771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FA596B-5747-4A91-8D08-0EEBFF3C70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022887-D762-45D6-9973-C9D82E3D64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8858AB-7D3A-4C48-B8D9-CBB90B7ED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8620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DF071-58CC-43C9-85CE-F6A7C8F8F7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BC7331-FB84-49B4-84C8-7167AAE3EC1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14" indent="0">
              <a:buNone/>
              <a:defRPr sz="2800"/>
            </a:lvl2pPr>
            <a:lvl3pPr marL="914428" indent="0">
              <a:buNone/>
              <a:defRPr sz="2400"/>
            </a:lvl3pPr>
            <a:lvl4pPr marL="1371643" indent="0">
              <a:buNone/>
              <a:defRPr sz="2000"/>
            </a:lvl4pPr>
            <a:lvl5pPr marL="1828857" indent="0">
              <a:buNone/>
              <a:defRPr sz="2000"/>
            </a:lvl5pPr>
            <a:lvl6pPr marL="2286071" indent="0">
              <a:buNone/>
              <a:defRPr sz="2000"/>
            </a:lvl6pPr>
            <a:lvl7pPr marL="2743285" indent="0">
              <a:buNone/>
              <a:defRPr sz="2000"/>
            </a:lvl7pPr>
            <a:lvl8pPr marL="3200500" indent="0">
              <a:buNone/>
              <a:defRPr sz="2000"/>
            </a:lvl8pPr>
            <a:lvl9pPr marL="3657714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AB24A8-725C-4EEE-811F-C791CD5E6B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14" indent="0">
              <a:buNone/>
              <a:defRPr sz="1400"/>
            </a:lvl2pPr>
            <a:lvl3pPr marL="914428" indent="0">
              <a:buNone/>
              <a:defRPr sz="1200"/>
            </a:lvl3pPr>
            <a:lvl4pPr marL="1371643" indent="0">
              <a:buNone/>
              <a:defRPr sz="1000"/>
            </a:lvl4pPr>
            <a:lvl5pPr marL="1828857" indent="0">
              <a:buNone/>
              <a:defRPr sz="1000"/>
            </a:lvl5pPr>
            <a:lvl6pPr marL="2286071" indent="0">
              <a:buNone/>
              <a:defRPr sz="1000"/>
            </a:lvl6pPr>
            <a:lvl7pPr marL="2743285" indent="0">
              <a:buNone/>
              <a:defRPr sz="1000"/>
            </a:lvl7pPr>
            <a:lvl8pPr marL="3200500" indent="0">
              <a:buNone/>
              <a:defRPr sz="1000"/>
            </a:lvl8pPr>
            <a:lvl9pPr marL="3657714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C511CD-AB2E-4BFA-802B-0169A62F3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E93544-84B4-4302-B790-DB1C97C58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06EEF5-3F25-4930-BEE5-16918CED2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8542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11E36-9FB6-4A28-8E3A-8A6074A4C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FDA7FE-0654-4B7C-B4A2-4D830368B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667557-B6A8-4BB2-BB5A-AD08DFE07B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C7A587-9B96-4930-8440-4EA071833A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022B61-2C8D-4669-8B00-6018E1342D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349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EC6ACF-C242-472D-AC30-632C9A814B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28BB8D-A44A-48BE-8350-C354504B63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3A10C1-7A1E-4163-A529-98DE69E08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12C074-C8EB-407F-A594-3FC6FE3DD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6F04A-9BEF-41AE-A144-2D3C670A6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175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Icebergs and Spiritual Growth - Ken Hensley - Medium">
            <a:extLst>
              <a:ext uri="{FF2B5EF4-FFF2-40B4-BE49-F238E27FC236}">
                <a16:creationId xmlns:a16="http://schemas.microsoft.com/office/drawing/2014/main" id="{16F5C007-747F-4905-829D-93766C3F6B7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575" r="15506" b="7551"/>
          <a:stretch/>
        </p:blipFill>
        <p:spPr bwMode="auto">
          <a:xfrm flipH="1">
            <a:off x="203201" y="203682"/>
            <a:ext cx="11785600" cy="6450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0C00456-721A-A94C-800A-D5E7EE91C160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18715"/>
            <a:ext cx="5181600" cy="1600200"/>
          </a:xfr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  <p:txBody>
          <a:bodyPr anchor="b" anchorCtr="0">
            <a:normAutofit/>
          </a:bodyPr>
          <a:lstStyle>
            <a:lvl1pPr>
              <a:defRPr sz="31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46997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2116">
                <a:solidFill>
                  <a:schemeClr val="bg1"/>
                </a:solidFill>
              </a:defRPr>
            </a:lvl1pPr>
            <a:lvl2pPr marL="604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4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1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23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28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33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3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995680" y="3932955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chemeClr val="bg1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27" y="753867"/>
            <a:ext cx="1826231" cy="543508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D6CA11D-A6E4-4D7C-BE5C-1B31338B6BF3}"/>
              </a:ext>
            </a:extLst>
          </p:cNvPr>
          <p:cNvSpPr/>
          <p:nvPr userDrawn="1"/>
        </p:nvSpPr>
        <p:spPr>
          <a:xfrm>
            <a:off x="7722987" y="1063816"/>
            <a:ext cx="487680" cy="4837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308" dirty="0"/>
              <a:t>E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7ECA034E-76E8-44C4-AA56-F9D414428DF4}"/>
              </a:ext>
            </a:extLst>
          </p:cNvPr>
          <p:cNvSpPr/>
          <p:nvPr userDrawn="1"/>
        </p:nvSpPr>
        <p:spPr>
          <a:xfrm>
            <a:off x="7662027" y="2120180"/>
            <a:ext cx="609600" cy="423322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909" dirty="0"/>
              <a:t>COMMERCE</a:t>
            </a:r>
          </a:p>
        </p:txBody>
      </p:sp>
    </p:spTree>
    <p:extLst>
      <p:ext uri="{BB962C8B-B14F-4D97-AF65-F5344CB8AC3E}">
        <p14:creationId xmlns:p14="http://schemas.microsoft.com/office/powerpoint/2010/main" val="2272997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18715"/>
            <a:ext cx="5181600" cy="1600200"/>
          </a:xfrm>
          <a:effectLst/>
        </p:spPr>
        <p:txBody>
          <a:bodyPr anchor="b" anchorCtr="0">
            <a:normAutofit/>
          </a:bodyPr>
          <a:lstStyle>
            <a:lvl1pPr>
              <a:defRPr sz="31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46997"/>
            <a:ext cx="4572000" cy="1600200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2116">
                <a:solidFill>
                  <a:schemeClr val="bg1"/>
                </a:solidFill>
              </a:defRPr>
            </a:lvl1pPr>
            <a:lvl2pPr marL="604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4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1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23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28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33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3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95680" y="3932955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27" y="753867"/>
            <a:ext cx="1826231" cy="543508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994567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Full Red">
    <p:bg>
      <p:bgPr>
        <a:solidFill>
          <a:srgbClr val="BA0C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707638"/>
            <a:ext cx="7315200" cy="532069"/>
          </a:xfrm>
        </p:spPr>
        <p:txBody>
          <a:bodyPr wrap="square" anchor="t" anchorCtr="0">
            <a:spAutoFit/>
          </a:bodyPr>
          <a:lstStyle>
            <a:lvl1pPr>
              <a:defRPr sz="3175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6/1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27" y="5747197"/>
            <a:ext cx="1826231" cy="543508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995680" y="909220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85304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914805" y="818044"/>
            <a:ext cx="10363200" cy="6959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914400" y="1715550"/>
            <a:ext cx="10363200" cy="423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622606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5" y="1715550"/>
            <a:ext cx="10363200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48667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50795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715550"/>
            <a:ext cx="50804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2783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33523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1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89309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3429000"/>
            <a:ext cx="11785600" cy="322822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15550"/>
            <a:ext cx="10363200" cy="151186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91" y="4699513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32377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203683"/>
            <a:ext cx="5892800" cy="6450636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219507"/>
            <a:ext cx="4876800" cy="3729273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691640"/>
            <a:ext cx="4876800" cy="1305285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6813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203684"/>
            <a:ext cx="5892800" cy="6450635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91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6" y="2796215"/>
            <a:ext cx="5181195" cy="130528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40915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914805" y="818044"/>
            <a:ext cx="10363200" cy="6959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914400" y="1715550"/>
            <a:ext cx="10363200" cy="423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04463" marR="0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304463" marR="0" lvl="0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16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904991" marR="0" lvl="1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2116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25839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50795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715550"/>
            <a:ext cx="50804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39346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33523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1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0465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3429000"/>
            <a:ext cx="11785600" cy="322822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15550"/>
            <a:ext cx="10363200" cy="151186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91" y="4699513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35917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203683"/>
            <a:ext cx="5892800" cy="6450636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219507"/>
            <a:ext cx="4876800" cy="3729273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691640"/>
            <a:ext cx="4876800" cy="1305285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98272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203684"/>
            <a:ext cx="5892800" cy="6450635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91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6" y="2796215"/>
            <a:ext cx="5181195" cy="130528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BA0C2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23635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black smartphone near person">
            <a:extLst>
              <a:ext uri="{FF2B5EF4-FFF2-40B4-BE49-F238E27FC236}">
                <a16:creationId xmlns:a16="http://schemas.microsoft.com/office/drawing/2014/main" id="{5EC95FD6-CB33-4D27-AFA5-4D18E4E4F56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234"/>
          <a:stretch/>
        </p:blipFill>
        <p:spPr bwMode="auto">
          <a:xfrm>
            <a:off x="203200" y="203684"/>
            <a:ext cx="11779901" cy="6450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91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3F4168E2-91C5-9646-9F53-5B4E70AF759D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27" y="5747197"/>
            <a:ext cx="1826231" cy="543508"/>
          </a:xfrm>
          <a:prstGeom prst="rect">
            <a:avLst/>
          </a:prstGeom>
          <a:effectLst/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46997"/>
            <a:ext cx="4572000" cy="1600200"/>
          </a:xfrm>
          <a:effectLst>
            <a:outerShdw blurRad="254000" dir="5400000" algn="tl" rotWithShape="0">
              <a:srgbClr val="000000">
                <a:alpha val="40000"/>
              </a:srgbClr>
            </a:outerShdw>
          </a:effectLst>
        </p:spPr>
        <p:txBody>
          <a:bodyPr>
            <a:normAutofit/>
          </a:bodyPr>
          <a:lstStyle>
            <a:lvl1pPr marL="0" indent="0" algn="l">
              <a:buNone/>
              <a:defRPr sz="2116">
                <a:solidFill>
                  <a:schemeClr val="bg1"/>
                </a:solidFill>
              </a:defRPr>
            </a:lvl1pPr>
            <a:lvl2pPr marL="604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4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1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23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28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33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3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995680" y="3932955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54997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EB2C8F94-9D67-854F-8417-3B884156945E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18715"/>
            <a:ext cx="5181600" cy="1600200"/>
          </a:xfrm>
          <a:effectLst/>
        </p:spPr>
        <p:txBody>
          <a:bodyPr anchor="b" anchorCtr="0">
            <a:normAutofit/>
          </a:bodyPr>
          <a:lstStyle>
            <a:lvl1pPr>
              <a:defRPr sz="3175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0" y="4146997"/>
            <a:ext cx="4572000" cy="1600200"/>
          </a:xfrm>
          <a:effectLst/>
        </p:spPr>
        <p:txBody>
          <a:bodyPr>
            <a:normAutofit/>
          </a:bodyPr>
          <a:lstStyle>
            <a:lvl1pPr marL="0" indent="0" algn="l">
              <a:buNone/>
              <a:defRPr sz="2116">
                <a:solidFill>
                  <a:schemeClr val="bg1"/>
                </a:solidFill>
              </a:defRPr>
            </a:lvl1pPr>
            <a:lvl2pPr marL="604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09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14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1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23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28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33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37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995680" y="3932955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27" y="753867"/>
            <a:ext cx="1826231" cy="543508"/>
          </a:xfrm>
          <a:prstGeom prst="rect">
            <a:avLst/>
          </a:prstGeom>
          <a:effectLst>
            <a:outerShdw blurRad="254000" dir="2700000" algn="tl" rotWithShape="0">
              <a:srgbClr val="000000">
                <a:alpha val="2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17753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- Full Red">
    <p:bg>
      <p:bgPr>
        <a:solidFill>
          <a:srgbClr val="002F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707638"/>
            <a:ext cx="7315200" cy="532069"/>
          </a:xfrm>
        </p:spPr>
        <p:txBody>
          <a:bodyPr wrap="square" anchor="t" anchorCtr="0">
            <a:spAutoFit/>
          </a:bodyPr>
          <a:lstStyle>
            <a:lvl1pPr>
              <a:defRPr sz="3175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3349C05-927F-3348-96DF-9086CF2761D6}" type="datetime1">
              <a:rPr lang="en-US" smtClean="0"/>
              <a:t>6/1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027" y="5747197"/>
            <a:ext cx="1826231" cy="543508"/>
          </a:xfrm>
          <a:prstGeom prst="rect">
            <a:avLst/>
          </a:prstGeom>
          <a:effectLst/>
        </p:spPr>
      </p:pic>
      <p:cxnSp>
        <p:nvCxnSpPr>
          <p:cNvPr id="13" name="Straight Connector 12"/>
          <p:cNvCxnSpPr/>
          <p:nvPr userDrawn="1"/>
        </p:nvCxnSpPr>
        <p:spPr>
          <a:xfrm>
            <a:off x="995680" y="909220"/>
            <a:ext cx="426720" cy="0"/>
          </a:xfrm>
          <a:prstGeom prst="line">
            <a:avLst/>
          </a:prstGeom>
          <a:ln w="19050">
            <a:solidFill>
              <a:srgbClr val="FFFFFF"/>
            </a:solidFill>
          </a:ln>
          <a:effectLst>
            <a:outerShdw blurRad="254000" dir="27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42847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914805" y="818044"/>
            <a:ext cx="10363200" cy="6959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914400" y="1715550"/>
            <a:ext cx="10363200" cy="423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04463" marR="0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304463" marR="0" lvl="0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16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904991" marR="0" lvl="1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2116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962920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2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50795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715550"/>
            <a:ext cx="50804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88788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3 Content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33523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1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05047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Bottom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3429000"/>
            <a:ext cx="11785600" cy="3228220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15550"/>
            <a:ext cx="10363200" cy="151186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91" y="4699513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29090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1 Content + Right Photo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203683"/>
            <a:ext cx="5892800" cy="6450636"/>
          </a:xfrm>
          <a:solidFill>
            <a:srgbClr val="FFFFFF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219507"/>
            <a:ext cx="4876800" cy="3729273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691640"/>
            <a:ext cx="4876800" cy="1305285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08708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d/Gray Title Only">
    <p:bg>
      <p:bgPr>
        <a:solidFill>
          <a:srgbClr val="E7E7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203684"/>
            <a:ext cx="5892800" cy="6450635"/>
          </a:xfrm>
          <a:solidFill>
            <a:schemeClr val="bg1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91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6" y="2796215"/>
            <a:ext cx="5181195" cy="130528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7803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14FB1AD-D69E-B741-965A-0BAE826C2FA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914805" y="818044"/>
            <a:ext cx="10363200" cy="6959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>
          <a:xfrm>
            <a:off x="914400" y="1715550"/>
            <a:ext cx="10363200" cy="4233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04463" marR="0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•"/>
              <a:tabLst/>
              <a:defRPr/>
            </a:lvl1pPr>
          </a:lstStyle>
          <a:p>
            <a:pPr marL="304463" marR="0" lvl="0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116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lick to edit Master text styles</a:t>
            </a:r>
          </a:p>
          <a:p>
            <a:pPr marL="904991" marR="0" lvl="1" indent="-304463" algn="l" defTabSz="6047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59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2116" b="0" i="0" u="none" strike="noStrike" kern="120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447936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50795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715550"/>
            <a:ext cx="50804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6C6463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AB18E012-EC0C-1649-A039-CB178266D114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55126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806" y="1715550"/>
            <a:ext cx="335239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24801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03201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39C62A9A-2216-F44B-AFF9-136AA601C377}" type="datetime1">
              <a:rPr lang="en-US" smtClean="0"/>
              <a:t>6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424029"/>
            <a:ext cx="3860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144000" y="6424029"/>
            <a:ext cx="2844800" cy="214354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4419398" y="1715550"/>
            <a:ext cx="3353205" cy="4233229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 sz="2116">
                <a:solidFill>
                  <a:srgbClr val="FFFFFF"/>
                </a:solidFill>
              </a:defRPr>
            </a:lvl5pPr>
            <a:lvl6pPr>
              <a:defRPr sz="2381"/>
            </a:lvl6pPr>
            <a:lvl7pPr>
              <a:defRPr sz="2381"/>
            </a:lvl7pPr>
            <a:lvl8pPr>
              <a:defRPr sz="2381"/>
            </a:lvl8pPr>
            <a:lvl9pPr>
              <a:defRPr sz="23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2606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Bottom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3429000"/>
            <a:ext cx="11785600" cy="3228220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715550"/>
            <a:ext cx="10363200" cy="1511868"/>
          </a:xfrm>
        </p:spPr>
        <p:txBody>
          <a:bodyPr/>
          <a:lstStyle>
            <a:lvl1pPr>
              <a:defRPr>
                <a:solidFill>
                  <a:srgbClr val="6C6463"/>
                </a:solidFill>
              </a:defRPr>
            </a:lvl1pPr>
            <a:lvl2pPr>
              <a:defRPr>
                <a:solidFill>
                  <a:srgbClr val="6C6463"/>
                </a:solidFill>
              </a:defRPr>
            </a:lvl2pPr>
            <a:lvl3pPr>
              <a:defRPr>
                <a:solidFill>
                  <a:srgbClr val="6C6463"/>
                </a:solidFill>
              </a:defRPr>
            </a:lvl3pPr>
            <a:lvl4pPr>
              <a:defRPr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193355D5-F1DA-0F48-9E7E-0A3FEBF9FF84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424029"/>
            <a:ext cx="3860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ct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r>
              <a:rPr lang="en-US"/>
              <a:t>FOOTER GOES HER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91" y="4699513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914805" y="818043"/>
            <a:ext cx="10363200" cy="695924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03810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1 Content + Right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203683"/>
            <a:ext cx="5892800" cy="6450636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FFFFFF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914400" y="2219507"/>
            <a:ext cx="4876800" cy="3729273"/>
          </a:xfrm>
        </p:spPr>
        <p:txBody>
          <a:bodyPr>
            <a:normAutofit/>
          </a:bodyPr>
          <a:lstStyle>
            <a:lvl1pPr>
              <a:defRPr sz="2116">
                <a:solidFill>
                  <a:srgbClr val="6C6463"/>
                </a:solidFill>
              </a:defRPr>
            </a:lvl1pPr>
            <a:lvl2pPr>
              <a:defRPr sz="2116">
                <a:solidFill>
                  <a:srgbClr val="6C6463"/>
                </a:solidFill>
              </a:defRPr>
            </a:lvl2pPr>
            <a:lvl3pPr>
              <a:defRPr sz="2116">
                <a:solidFill>
                  <a:srgbClr val="6C6463"/>
                </a:solidFill>
              </a:defRPr>
            </a:lvl3pPr>
            <a:lvl4pPr>
              <a:defRPr sz="1853">
                <a:solidFill>
                  <a:srgbClr val="6C6463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0494089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691640"/>
            <a:ext cx="4876800" cy="1305285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29464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ed/Gray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203201" y="203684"/>
            <a:ext cx="5892800" cy="6450635"/>
          </a:xfrm>
          <a:solidFill>
            <a:srgbClr val="E7E7E5"/>
          </a:solidFill>
        </p:spPr>
        <p:txBody>
          <a:bodyPr>
            <a:normAutofit/>
          </a:bodyPr>
          <a:lstStyle>
            <a:lvl1pPr marL="0" marR="0" indent="0" algn="l" defTabSz="60472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87">
                <a:solidFill>
                  <a:srgbClr val="6C6463"/>
                </a:solidFill>
              </a:defRPr>
            </a:lvl1pPr>
          </a:lstStyle>
          <a:p>
            <a:r>
              <a:rPr lang="en-US" dirty="0"/>
              <a:t>ADD PHOTO HER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203201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>
              <a:defRPr sz="793" b="0" i="0">
                <a:solidFill>
                  <a:schemeClr val="bg1"/>
                </a:solidFill>
                <a:latin typeface="Gill Sans MT"/>
                <a:cs typeface="Gill Sans MT"/>
              </a:defRPr>
            </a:lvl1pPr>
          </a:lstStyle>
          <a:p>
            <a:fld id="{60FEB5C5-97E6-6B45-BBE4-F2449473BB96}" type="datetime1">
              <a:rPr lang="en-US" smtClean="0"/>
              <a:pPr/>
              <a:t>6/15/2022</a:t>
            </a:fld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44000" y="6424029"/>
            <a:ext cx="2844800" cy="214354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r">
              <a:defRPr sz="793" b="0" i="0">
                <a:solidFill>
                  <a:srgbClr val="6C6463"/>
                </a:solidFill>
                <a:latin typeface="Gill Sans MT"/>
                <a:cs typeface="Gill Sans MT"/>
              </a:defRPr>
            </a:lvl1pPr>
          </a:lstStyle>
          <a:p>
            <a:fld id="{42782948-4DBE-204D-AB9E-B65E067054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4601291" y="1474196"/>
            <a:ext cx="2743200" cy="202171"/>
          </a:xfrm>
        </p:spPr>
        <p:txBody>
          <a:bodyPr>
            <a:spAutoFit/>
          </a:bodyPr>
          <a:lstStyle>
            <a:lvl1pPr marL="0" indent="0" algn="r">
              <a:buNone/>
              <a:defRPr sz="793" baseline="0">
                <a:solidFill>
                  <a:srgbClr val="FFFFFF"/>
                </a:solidFill>
              </a:defRPr>
            </a:lvl1pPr>
            <a:lvl2pPr marL="304463" indent="0">
              <a:buNone/>
              <a:defRPr sz="2381">
                <a:solidFill>
                  <a:schemeClr val="bg1"/>
                </a:solidFill>
              </a:defRPr>
            </a:lvl2pPr>
            <a:lvl3pPr marL="608926" indent="0">
              <a:buNone/>
              <a:defRPr sz="2116">
                <a:solidFill>
                  <a:schemeClr val="bg1"/>
                </a:solidFill>
              </a:defRPr>
            </a:lvl3pPr>
            <a:lvl4pPr marL="904989" indent="0">
              <a:buNone/>
              <a:defRPr sz="1853">
                <a:solidFill>
                  <a:schemeClr val="bg1"/>
                </a:solidFill>
              </a:defRPr>
            </a:lvl4pPr>
            <a:lvl5pPr marL="1356436" indent="0">
              <a:buNone/>
              <a:defRPr sz="158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PHOTO CREDIT HER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502806" y="2796215"/>
            <a:ext cx="5181195" cy="1305285"/>
          </a:xfrm>
        </p:spPr>
        <p:txBody>
          <a:bodyPr wrap="square" anchor="ctr" anchorCtr="0">
            <a:spAutoFit/>
          </a:bodyPr>
          <a:lstStyle>
            <a:lvl1pPr>
              <a:defRPr>
                <a:solidFill>
                  <a:srgbClr val="0067B9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32215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2E3138-49DA-445A-9D54-E6BC735B83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3015016"/>
              </p:ext>
            </p:extLst>
          </p:nvPr>
        </p:nvGraphicFramePr>
        <p:xfrm>
          <a:off x="1591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2E3138-49DA-445A-9D54-E6BC735B83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9314DF9-E7DE-4F99-8776-A33507963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4" y="3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84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5" y="69317"/>
            <a:ext cx="10031713" cy="58092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92314" y="6654092"/>
            <a:ext cx="7242715" cy="14116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92" b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11877" y="6617562"/>
            <a:ext cx="645169" cy="214226"/>
          </a:xfrm>
          <a:prstGeom prst="rect">
            <a:avLst/>
          </a:prstGeom>
        </p:spPr>
        <p:txBody>
          <a:bodyPr anchor="ctr"/>
          <a:lstStyle>
            <a:lvl1pPr algn="r">
              <a:defRPr sz="79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- </a:t>
            </a:r>
            <a:fld id="{C05884CA-5403-4569-B873-2F7B596D59BB}" type="slidenum">
              <a:rPr lang="en-US" smtClean="0"/>
              <a:pPr/>
              <a:t>‹#›</a:t>
            </a:fld>
            <a:r>
              <a:rPr lang="en-US"/>
              <a:t> -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4803" y="681552"/>
            <a:ext cx="10031712" cy="416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785"/>
            </a:lvl1pPr>
            <a:lvl2pPr marL="264600" indent="0">
              <a:buNone/>
              <a:defRPr/>
            </a:lvl2pPr>
            <a:lvl3pPr marL="537078" indent="0">
              <a:buNone/>
              <a:defRPr/>
            </a:lvl3pPr>
            <a:lvl4pPr marL="801674" indent="0">
              <a:buNone/>
              <a:defRPr/>
            </a:lvl4pPr>
            <a:lvl5pPr marL="1066273" indent="0">
              <a:buNone/>
              <a:defRPr/>
            </a:lvl5pPr>
          </a:lstStyle>
          <a:p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8567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" name="Google Shape;52;p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1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slideLayout" Target="../slideLayouts/slideLayout52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5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4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7C002B-807F-42CB-AC69-96A75428B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BFFFD2-3562-4A70-AF14-BE4F1C65C2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43661B-7108-4D89-A8C4-1855D6DF83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239E71-6CB8-4816-8993-CDC3C5A6D95D}" type="datetimeFigureOut">
              <a:rPr lang="en-US" smtClean="0"/>
              <a:t>6/1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3694B2-ADFA-402E-9989-D8BF675C4C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D0466-8EAC-4DC6-99AF-EBD69624E7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D1028-2042-4302-B12B-C58726315F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53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</p:sldLayoutIdLst>
  <p:txStyles>
    <p:titleStyle>
      <a:lvl1pPr algn="l" defTabSz="91442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8" indent="-228608" algn="l" defTabSz="91442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22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36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50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65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79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93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07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22" indent="-228608" algn="l" defTabSz="91442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4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8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43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57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71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85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00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14" algn="l" defTabSz="914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mp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tmp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D53C59E-99A8-484F-A8C7-3CE13AD89D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2836088"/>
            <a:ext cx="8534400" cy="2253647"/>
          </a:xfrm>
        </p:spPr>
        <p:txBody>
          <a:bodyPr>
            <a:noAutofit/>
          </a:bodyPr>
          <a:lstStyle/>
          <a:p>
            <a:r>
              <a:rPr lang="es-CO" sz="2667" dirty="0">
                <a:solidFill>
                  <a:srgbClr val="27A8E0"/>
                </a:solidFill>
                <a:latin typeface="Gill Sans" panose="020B0604020202020204" charset="0"/>
              </a:rPr>
              <a:t>Data transfer </a:t>
            </a:r>
            <a:r>
              <a:rPr lang="es-CO" sz="2667" dirty="0" err="1">
                <a:solidFill>
                  <a:srgbClr val="27A8E0"/>
                </a:solidFill>
                <a:latin typeface="Gill Sans" panose="020B0604020202020204" charset="0"/>
              </a:rPr>
              <a:t>policies</a:t>
            </a:r>
            <a:r>
              <a:rPr lang="es-CO" sz="2667" dirty="0">
                <a:solidFill>
                  <a:srgbClr val="27A8E0"/>
                </a:solidFill>
                <a:latin typeface="Gill Sans" panose="020B0604020202020204" charset="0"/>
              </a:rPr>
              <a:t> </a:t>
            </a:r>
            <a:r>
              <a:rPr lang="es-CO" sz="2667" dirty="0" err="1">
                <a:solidFill>
                  <a:srgbClr val="27A8E0"/>
                </a:solidFill>
                <a:latin typeface="Gill Sans" panose="020B0604020202020204" charset="0"/>
              </a:rPr>
              <a:t>to</a:t>
            </a:r>
            <a:r>
              <a:rPr lang="es-CO" sz="2667" dirty="0">
                <a:solidFill>
                  <a:srgbClr val="27A8E0"/>
                </a:solidFill>
                <a:latin typeface="Gill Sans" panose="020B0604020202020204" charset="0"/>
              </a:rPr>
              <a:t> </a:t>
            </a:r>
            <a:r>
              <a:rPr lang="es-CO" sz="2667" dirty="0" err="1">
                <a:solidFill>
                  <a:srgbClr val="27A8E0"/>
                </a:solidFill>
                <a:latin typeface="Gill Sans" panose="020B0604020202020204" charset="0"/>
              </a:rPr>
              <a:t>enable</a:t>
            </a:r>
            <a:r>
              <a:rPr lang="es-CO" sz="2667" dirty="0">
                <a:solidFill>
                  <a:srgbClr val="27A8E0"/>
                </a:solidFill>
                <a:latin typeface="Gill Sans" panose="020B0604020202020204" charset="0"/>
              </a:rPr>
              <a:t> MSME </a:t>
            </a:r>
            <a:r>
              <a:rPr lang="es-CO" sz="2667" dirty="0" err="1">
                <a:solidFill>
                  <a:srgbClr val="27A8E0"/>
                </a:solidFill>
                <a:latin typeface="Gill Sans" panose="020B0604020202020204" charset="0"/>
              </a:rPr>
              <a:t>ecommerce</a:t>
            </a:r>
            <a:endParaRPr lang="es-CO" sz="2667" dirty="0">
              <a:solidFill>
                <a:srgbClr val="27A8E0"/>
              </a:solidFill>
              <a:latin typeface="Gill Sans" panose="020B0604020202020204" charset="0"/>
            </a:endParaRPr>
          </a:p>
          <a:p>
            <a:endParaRPr lang="en-US" sz="2133" dirty="0">
              <a:solidFill>
                <a:srgbClr val="27A8E0"/>
              </a:solidFill>
              <a:latin typeface="Gill Sans" panose="020B0604020202020204" charset="0"/>
            </a:endParaRPr>
          </a:p>
          <a:p>
            <a:endParaRPr lang="en-US" sz="2133" dirty="0">
              <a:solidFill>
                <a:srgbClr val="27A8E0"/>
              </a:solidFill>
              <a:latin typeface="Gill Sans" panose="020B0604020202020204" charset="0"/>
            </a:endParaRPr>
          </a:p>
          <a:p>
            <a:r>
              <a:rPr lang="en-US" sz="1800" dirty="0">
                <a:solidFill>
                  <a:srgbClr val="27A8E0"/>
                </a:solidFill>
                <a:latin typeface="Gill Sans" panose="020B0604020202020204" charset="0"/>
              </a:rPr>
              <a:t>Dr. Kati </a:t>
            </a:r>
            <a:r>
              <a:rPr lang="en-US" sz="1800" dirty="0" err="1">
                <a:solidFill>
                  <a:srgbClr val="27A8E0"/>
                </a:solidFill>
                <a:latin typeface="Gill Sans" panose="020B0604020202020204" charset="0"/>
              </a:rPr>
              <a:t>Suominen</a:t>
            </a:r>
            <a:endParaRPr lang="en-US" sz="1800" dirty="0">
              <a:solidFill>
                <a:srgbClr val="27A8E0"/>
              </a:solidFill>
              <a:latin typeface="Gill Sans" panose="020B0604020202020204" charset="0"/>
            </a:endParaRPr>
          </a:p>
          <a:p>
            <a:r>
              <a:rPr lang="en-US" sz="1800" dirty="0">
                <a:solidFill>
                  <a:srgbClr val="27A8E0"/>
                </a:solidFill>
                <a:latin typeface="Gill Sans" panose="020B0604020202020204" charset="0"/>
              </a:rPr>
              <a:t>Founder and CEO, </a:t>
            </a:r>
            <a:r>
              <a:rPr lang="en-US" sz="1800" dirty="0" err="1">
                <a:solidFill>
                  <a:srgbClr val="27A8E0"/>
                </a:solidFill>
                <a:latin typeface="Gill Sans" panose="020B0604020202020204" charset="0"/>
              </a:rPr>
              <a:t>Nextrade</a:t>
            </a:r>
            <a:r>
              <a:rPr lang="en-US" sz="1800" dirty="0">
                <a:solidFill>
                  <a:srgbClr val="27A8E0"/>
                </a:solidFill>
                <a:latin typeface="Gill Sans" panose="020B0604020202020204" charset="0"/>
              </a:rPr>
              <a:t> Group; Technical Director, </a:t>
            </a:r>
            <a:r>
              <a:rPr lang="en-US" sz="1800" dirty="0" err="1">
                <a:solidFill>
                  <a:srgbClr val="27A8E0"/>
                </a:solidFill>
                <a:latin typeface="Gill Sans" panose="020B0604020202020204" charset="0"/>
              </a:rPr>
              <a:t>eTrade</a:t>
            </a:r>
            <a:r>
              <a:rPr lang="en-US" sz="1800" dirty="0">
                <a:solidFill>
                  <a:srgbClr val="27A8E0"/>
                </a:solidFill>
                <a:latin typeface="Gill Sans" panose="020B0604020202020204" charset="0"/>
              </a:rPr>
              <a:t> Alliance</a:t>
            </a:r>
          </a:p>
          <a:p>
            <a:r>
              <a:rPr lang="es-CO" sz="1800" dirty="0">
                <a:solidFill>
                  <a:srgbClr val="27A8E0"/>
                </a:solidFill>
                <a:latin typeface="Gill Sans" panose="020B0604020202020204" charset="0"/>
              </a:rPr>
              <a:t>13 May 2022</a:t>
            </a:r>
            <a:endParaRPr lang="en-US" sz="1800" dirty="0">
              <a:solidFill>
                <a:srgbClr val="27A8E0"/>
              </a:solidFill>
              <a:latin typeface="Gill Sans" panose="020B0604020202020204" charset="0"/>
            </a:endParaRPr>
          </a:p>
          <a:p>
            <a:endParaRPr lang="en-US" sz="2133" dirty="0">
              <a:solidFill>
                <a:srgbClr val="27A8E0"/>
              </a:solidFill>
              <a:latin typeface="Gill Sans" panose="020B0604020202020204" charset="0"/>
            </a:endParaRPr>
          </a:p>
        </p:txBody>
      </p:sp>
      <p:pic>
        <p:nvPicPr>
          <p:cNvPr id="6" name="Picture 5" descr="A picture containing star&#10;&#10;Description automatically generated">
            <a:extLst>
              <a:ext uri="{FF2B5EF4-FFF2-40B4-BE49-F238E27FC236}">
                <a16:creationId xmlns:a16="http://schemas.microsoft.com/office/drawing/2014/main" id="{F5CF304C-4BDE-4034-A233-8E94874C0DA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37"/>
            <a:ext cx="12192000" cy="243692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B1C2E77-B8BC-4B5E-904B-4AB0B1039EFA}"/>
              </a:ext>
            </a:extLst>
          </p:cNvPr>
          <p:cNvGrpSpPr/>
          <p:nvPr/>
        </p:nvGrpSpPr>
        <p:grpSpPr>
          <a:xfrm>
            <a:off x="-301897" y="5430808"/>
            <a:ext cx="6576040" cy="1653165"/>
            <a:chOff x="-226423" y="4073106"/>
            <a:chExt cx="4932030" cy="1239874"/>
          </a:xfrm>
        </p:grpSpPr>
        <p:pic>
          <p:nvPicPr>
            <p:cNvPr id="7" name="Picture 6" descr="A close up of a sign&#10;&#10;Description automatically generated">
              <a:extLst>
                <a:ext uri="{FF2B5EF4-FFF2-40B4-BE49-F238E27FC236}">
                  <a16:creationId xmlns:a16="http://schemas.microsoft.com/office/drawing/2014/main" id="{10D5ED7C-3B2F-4AB6-B16E-870DE0A78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8692" y="4351507"/>
              <a:ext cx="1536915" cy="680595"/>
            </a:xfrm>
            <a:prstGeom prst="rect">
              <a:avLst/>
            </a:prstGeom>
          </p:spPr>
        </p:pic>
        <p:pic>
          <p:nvPicPr>
            <p:cNvPr id="8" name="Picture 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2046DA06-7460-496E-9B5E-253056F13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26423" y="4073106"/>
              <a:ext cx="3187337" cy="1239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57410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94;p15">
            <a:extLst>
              <a:ext uri="{FF2B5EF4-FFF2-40B4-BE49-F238E27FC236}">
                <a16:creationId xmlns:a16="http://schemas.microsoft.com/office/drawing/2014/main" id="{9B5DDF63-D570-40BB-8FD4-929A885A4F61}"/>
              </a:ext>
            </a:extLst>
          </p:cNvPr>
          <p:cNvSpPr txBox="1"/>
          <p:nvPr/>
        </p:nvSpPr>
        <p:spPr>
          <a:xfrm>
            <a:off x="303444" y="408286"/>
            <a:ext cx="2422900" cy="54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208">
              <a:lnSpc>
                <a:spcPct val="115000"/>
              </a:lnSpc>
            </a:pPr>
            <a:r>
              <a:rPr lang="it-IT" sz="2200" b="1" dirty="0">
                <a:latin typeface="Gill Sans MT" panose="020B0502020104020203" pitchFamily="34" charset="0"/>
                <a:ea typeface="Gill Sans"/>
                <a:cs typeface="Gill Sans"/>
                <a:sym typeface="Gill Sans"/>
              </a:rPr>
              <a:t>Promote trade agreements and integration – blueprints are well in place</a:t>
            </a:r>
            <a:endParaRPr sz="2200" b="1" dirty="0">
              <a:latin typeface="Gill Sans MT" panose="020B0502020104020203" pitchFamily="34" charset="0"/>
              <a:ea typeface="Gill Sans"/>
              <a:cs typeface="Gill Sans"/>
              <a:sym typeface="Gill San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D316DF-1A77-4EE0-9D5D-87DC16C29A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7455" y="211639"/>
            <a:ext cx="7656520" cy="6546440"/>
          </a:xfrm>
          <a:prstGeom prst="rect">
            <a:avLst/>
          </a:prstGeom>
        </p:spPr>
      </p:pic>
      <p:sp>
        <p:nvSpPr>
          <p:cNvPr id="4" name="Google Shape;246;p33">
            <a:extLst>
              <a:ext uri="{FF2B5EF4-FFF2-40B4-BE49-F238E27FC236}">
                <a16:creationId xmlns:a16="http://schemas.microsoft.com/office/drawing/2014/main" id="{63DC178E-7B76-FEF9-D370-6C9266815784}"/>
              </a:ext>
            </a:extLst>
          </p:cNvPr>
          <p:cNvSpPr txBox="1"/>
          <p:nvPr/>
        </p:nvSpPr>
        <p:spPr>
          <a:xfrm>
            <a:off x="57731" y="6551860"/>
            <a:ext cx="4610689" cy="25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67"/>
              <a:buFont typeface="Gill Sans"/>
              <a:buNone/>
            </a:pPr>
            <a:r>
              <a:rPr lang="en-US" sz="1067" b="0" i="0" u="none" strike="noStrike" cap="none" dirty="0">
                <a:solidFill>
                  <a:srgbClr val="7F7F7F"/>
                </a:solidFill>
                <a:latin typeface="Gill Sans"/>
                <a:ea typeface="Gill Sans"/>
                <a:cs typeface="Gill Sans"/>
                <a:sym typeface="Gill Sans"/>
              </a:rPr>
              <a:t>Source: Suominen (2021)</a:t>
            </a:r>
            <a:endParaRPr sz="1067" b="0" i="0" u="none" strike="noStrike" cap="none" dirty="0">
              <a:solidFill>
                <a:srgbClr val="7F7F7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3586642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1" y="0"/>
            <a:ext cx="12192000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Surveyed African firms see CPTPP- and USMCA-style digital trade rules positively for Africa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5FBFA1-474B-4445-9276-A8E7CE8AD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2807" y="591291"/>
            <a:ext cx="9040539" cy="53148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87D5D71-C4EB-4DB9-A001-C908736B9E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2807" y="6077645"/>
            <a:ext cx="9315496" cy="780356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A15A473A-3EB2-4D13-8DFC-295788FE6F83}"/>
              </a:ext>
            </a:extLst>
          </p:cNvPr>
          <p:cNvSpPr/>
          <p:nvPr/>
        </p:nvSpPr>
        <p:spPr>
          <a:xfrm>
            <a:off x="620245" y="2429859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5548632-9225-4512-A478-A726CE91EA80}"/>
              </a:ext>
            </a:extLst>
          </p:cNvPr>
          <p:cNvSpPr/>
          <p:nvPr/>
        </p:nvSpPr>
        <p:spPr>
          <a:xfrm>
            <a:off x="620245" y="1985720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CEC17150-0B13-4A0E-9FBE-47EDBE0C6D62}"/>
              </a:ext>
            </a:extLst>
          </p:cNvPr>
          <p:cNvSpPr/>
          <p:nvPr/>
        </p:nvSpPr>
        <p:spPr>
          <a:xfrm>
            <a:off x="620245" y="813360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Google Shape;86;p14">
            <a:extLst>
              <a:ext uri="{FF2B5EF4-FFF2-40B4-BE49-F238E27FC236}">
                <a16:creationId xmlns:a16="http://schemas.microsoft.com/office/drawing/2014/main" id="{CE73BB9D-96A5-421D-8324-CA58C32E2D4D}"/>
              </a:ext>
            </a:extLst>
          </p:cNvPr>
          <p:cNvSpPr txBox="1"/>
          <p:nvPr/>
        </p:nvSpPr>
        <p:spPr>
          <a:xfrm>
            <a:off x="9845964" y="6467821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it-IT" sz="1067" dirty="0">
                <a:solidFill>
                  <a:srgbClr val="999999"/>
                </a:solidFill>
                <a:latin typeface="Gill Sans MT" panose="020B0502020104020203" pitchFamily="34" charset="0"/>
              </a:rPr>
              <a:t>Source: Suominen and Vambell (2021)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2EF5338-7AA5-0AF5-F91B-D111D8C7BAFF}"/>
              </a:ext>
            </a:extLst>
          </p:cNvPr>
          <p:cNvSpPr txBox="1"/>
          <p:nvPr/>
        </p:nvSpPr>
        <p:spPr>
          <a:xfrm>
            <a:off x="46182" y="6099429"/>
            <a:ext cx="144569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https://www.allianceforetradedevelopment.org/data-transfer-in-africa</a:t>
            </a:r>
          </a:p>
        </p:txBody>
      </p:sp>
    </p:spTree>
    <p:extLst>
      <p:ext uri="{BB962C8B-B14F-4D97-AF65-F5344CB8AC3E}">
        <p14:creationId xmlns:p14="http://schemas.microsoft.com/office/powerpoint/2010/main" val="2764733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26"/>
          <p:cNvSpPr txBox="1"/>
          <p:nvPr/>
        </p:nvSpPr>
        <p:spPr>
          <a:xfrm>
            <a:off x="48120" y="1039055"/>
            <a:ext cx="2060483" cy="25567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5" tIns="120925" rIns="120925" bIns="120925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Gill Sans"/>
              <a:buNone/>
            </a:pPr>
            <a:r>
              <a:rPr lang="en-US" sz="2000" b="1" i="0" u="none" strike="noStrike" cap="none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rPr>
              <a:t>Overall, positive trade effect from from «Super PTAs» like CPTPP - with digital trade, on trade in goods, services, digitally deliverable services</a:t>
            </a:r>
            <a:endParaRPr sz="2000" b="1" i="0" u="none" strike="noStrike" cap="none">
              <a:solidFill>
                <a:srgbClr val="6C6463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190" name="Google Shape;190;p26"/>
          <p:cNvSpPr txBox="1"/>
          <p:nvPr/>
        </p:nvSpPr>
        <p:spPr>
          <a:xfrm>
            <a:off x="24144" y="6572368"/>
            <a:ext cx="3180610" cy="25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67"/>
              <a:buFont typeface="Gill Sans"/>
              <a:buNone/>
            </a:pPr>
            <a:r>
              <a:rPr lang="en-US" sz="1067" b="0" i="0" u="none" strike="noStrike" cap="none">
                <a:solidFill>
                  <a:srgbClr val="7F7F7F"/>
                </a:solidFill>
                <a:latin typeface="Gill Sans"/>
                <a:ea typeface="Gill Sans"/>
                <a:cs typeface="Gill Sans"/>
                <a:sym typeface="Gill Sans"/>
              </a:rPr>
              <a:t>Source: Suominen (2021)</a:t>
            </a:r>
            <a:endParaRPr sz="1067" b="0" i="0" u="none" strike="noStrike" cap="none">
              <a:solidFill>
                <a:srgbClr val="7F7F7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graphicFrame>
        <p:nvGraphicFramePr>
          <p:cNvPr id="191" name="Google Shape;191;p26"/>
          <p:cNvGraphicFramePr/>
          <p:nvPr/>
        </p:nvGraphicFramePr>
        <p:xfrm>
          <a:off x="2459114" y="331905"/>
          <a:ext cx="8691225" cy="5496946"/>
        </p:xfrm>
        <a:graphic>
          <a:graphicData uri="http://schemas.openxmlformats.org/drawingml/2006/table">
            <a:tbl>
              <a:tblPr>
                <a:noFill/>
                <a:tableStyleId>{81199248-EB7A-4842-965D-6325B6DA0F07}</a:tableStyleId>
              </a:tblPr>
              <a:tblGrid>
                <a:gridCol w="3464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2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4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42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95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rade in goods</a:t>
                      </a:r>
                      <a:b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rade in all services</a:t>
                      </a:r>
                      <a:b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Trade in digitally deliverable services</a:t>
                      </a:r>
                      <a:b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</a:b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Distance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-0.230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-0.697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-0.809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22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20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26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mmon language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-0.328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442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378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58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35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47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Colonial relationship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267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010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-0.219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61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35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48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Share border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265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248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020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53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39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53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TA covering trade in good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0.567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027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-0.697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20320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(0.055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129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129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TA covering trade in servic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331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323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.616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20320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176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258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354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TA covering goods and servic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 0.551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590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265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20320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54)***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72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076)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297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TA covering goods, services, and ecommerce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964***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564***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656***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E3E7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20320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 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213)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b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104)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b="1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(0.131)</a:t>
                      </a:r>
                      <a:endParaRPr sz="1100" b="1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Exporter-year fixed effect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9050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Importer-year fixed effect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YES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06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N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109,298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2,306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21, 918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370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Pseudo R-sq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944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903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u="none" strike="noStrike" cap="none"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  <a:sym typeface="Arial"/>
                        </a:rPr>
                        <a:t>0.898</a:t>
                      </a:r>
                      <a:endParaRPr sz="11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92" name="Google Shape;192;p26"/>
          <p:cNvSpPr/>
          <p:nvPr/>
        </p:nvSpPr>
        <p:spPr>
          <a:xfrm>
            <a:off x="1544299" y="6205268"/>
            <a:ext cx="757306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Times New Roman"/>
              <a:buNone/>
            </a:pPr>
            <a:r>
              <a:rPr lang="en-US" sz="1200" b="1" i="0" u="none" strike="noStrike" cap="none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	</a:t>
            </a:r>
            <a:r>
              <a:rPr lang="en-US" sz="800" b="0" i="0" u="none" strike="noStrike" cap="none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   *** significant at 1% level; ** significant at 5% level; * significant at 10% level. Standard errors in parentheses.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3" name="Google Shape;193;p26"/>
          <p:cNvSpPr/>
          <p:nvPr/>
        </p:nvSpPr>
        <p:spPr>
          <a:xfrm>
            <a:off x="1399152" y="4317592"/>
            <a:ext cx="871635" cy="444138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" name="Google Shape;184;p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630645"/>
            <a:ext cx="12090110" cy="611833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96;p14">
            <a:extLst>
              <a:ext uri="{FF2B5EF4-FFF2-40B4-BE49-F238E27FC236}">
                <a16:creationId xmlns:a16="http://schemas.microsoft.com/office/drawing/2014/main" id="{E2B22FCA-2399-4028-8AA5-9E0C3285BC9C}"/>
              </a:ext>
            </a:extLst>
          </p:cNvPr>
          <p:cNvSpPr txBox="1"/>
          <p:nvPr/>
        </p:nvSpPr>
        <p:spPr>
          <a:xfrm>
            <a:off x="0" y="48344"/>
            <a:ext cx="12192000" cy="591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5" tIns="120925" rIns="120925" bIns="1209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Gill Sans"/>
              <a:buNone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rPr>
              <a:t>One possibility: trade deals with free </a:t>
            </a:r>
            <a:r>
              <a:rPr lang="en-US" sz="2000" b="1" dirty="0">
                <a:latin typeface="Gill Sans"/>
                <a:ea typeface="Gill Sans"/>
                <a:cs typeface="Gill Sans"/>
                <a:sym typeface="Gill Sans"/>
              </a:rPr>
              <a:t>data transfer </a:t>
            </a:r>
            <a:r>
              <a:rPr lang="en-US" sz="2000" b="1" i="0" u="none" strike="noStrike" cap="none" dirty="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rPr>
              <a:t>provisions increasingly prominent in trade deals</a:t>
            </a:r>
            <a:endParaRPr sz="2000" b="1" i="0" u="none" strike="noStrike" cap="none" dirty="0">
              <a:solidFill>
                <a:srgbClr val="6C6463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4" name="Google Shape;246;p33">
            <a:extLst>
              <a:ext uri="{FF2B5EF4-FFF2-40B4-BE49-F238E27FC236}">
                <a16:creationId xmlns:a16="http://schemas.microsoft.com/office/drawing/2014/main" id="{97A891CE-9B15-DBD1-923C-26C0E1252446}"/>
              </a:ext>
            </a:extLst>
          </p:cNvPr>
          <p:cNvSpPr txBox="1"/>
          <p:nvPr/>
        </p:nvSpPr>
        <p:spPr>
          <a:xfrm>
            <a:off x="57731" y="6551860"/>
            <a:ext cx="4610689" cy="25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67"/>
              <a:buFont typeface="Gill Sans"/>
              <a:buNone/>
            </a:pPr>
            <a:r>
              <a:rPr lang="en-US" sz="1067" b="0" i="0" u="none" strike="noStrike" cap="none" dirty="0">
                <a:solidFill>
                  <a:srgbClr val="7F7F7F"/>
                </a:solidFill>
                <a:latin typeface="Gill Sans"/>
                <a:ea typeface="Gill Sans"/>
                <a:cs typeface="Gill Sans"/>
                <a:sym typeface="Gill Sans"/>
              </a:rPr>
              <a:t>Source: Suominen (2021)</a:t>
            </a:r>
            <a:endParaRPr sz="1067" b="0" i="0" u="none" strike="noStrike" cap="none" dirty="0">
              <a:solidFill>
                <a:srgbClr val="7F7F7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374865" y="251631"/>
            <a:ext cx="11138263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Proposals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9D9F12-C426-44C7-B931-70AB675AD3AF}"/>
              </a:ext>
            </a:extLst>
          </p:cNvPr>
          <p:cNvSpPr txBox="1"/>
          <p:nvPr/>
        </p:nvSpPr>
        <p:spPr>
          <a:xfrm>
            <a:off x="678872" y="1756688"/>
            <a:ext cx="10834256" cy="4114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b="1" u="sng" dirty="0">
                <a:latin typeface="Gill Sans MT" panose="020B0502020104020203" pitchFamily="34" charset="0"/>
              </a:rPr>
              <a:t>Strategy 1</a:t>
            </a:r>
            <a:r>
              <a:rPr lang="en-US" sz="1867" b="1" dirty="0">
                <a:latin typeface="Gill Sans MT" panose="020B0502020104020203" pitchFamily="34" charset="0"/>
              </a:rPr>
              <a:t>: Convergence - Ensure that national data privacy laws are more compatible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b="1" dirty="0">
              <a:latin typeface="Gill Sans MT" panose="020B05020201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b="1" dirty="0">
              <a:latin typeface="Gill Sans MT" panose="020B05020201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b="1" u="sng" dirty="0">
                <a:latin typeface="Gill Sans MT" panose="020B0502020104020203" pitchFamily="34" charset="0"/>
              </a:rPr>
              <a:t>Strategy 2</a:t>
            </a:r>
            <a:r>
              <a:rPr lang="en-US" sz="1867" b="1" dirty="0">
                <a:latin typeface="Gill Sans MT" panose="020B0502020104020203" pitchFamily="34" charset="0"/>
              </a:rPr>
              <a:t>: Choice: Enable firms, particularly online sellers, to use and move data across borders safely and with ease. </a:t>
            </a:r>
            <a:r>
              <a:rPr lang="en-US" sz="1867" dirty="0">
                <a:latin typeface="Gill Sans MT" panose="020B0502020104020203" pitchFamily="34" charset="0"/>
              </a:rPr>
              <a:t>Templates:</a:t>
            </a:r>
          </a:p>
          <a:p>
            <a:pPr lvl="7"/>
            <a:endParaRPr lang="en-US" sz="1867" dirty="0">
              <a:latin typeface="Gill Sans MT" panose="020B0502020104020203" pitchFamily="34" charset="0"/>
            </a:endParaRPr>
          </a:p>
          <a:p>
            <a:pPr lvl="7"/>
            <a:r>
              <a:rPr lang="en-US" sz="1867" dirty="0">
                <a:latin typeface="Gill Sans MT" panose="020B0502020104020203" pitchFamily="34" charset="0"/>
              </a:rPr>
              <a:t>               - Asia-Pacific Economic Cooperation (APEC) Cross-Border Privacy Rules (CBPR) system </a:t>
            </a:r>
          </a:p>
          <a:p>
            <a:pPr lvl="7"/>
            <a:endParaRPr lang="en-US" sz="1867" dirty="0">
              <a:latin typeface="Gill Sans MT" panose="020B0502020104020203" pitchFamily="34" charset="0"/>
            </a:endParaRPr>
          </a:p>
          <a:p>
            <a:pPr lvl="7"/>
            <a:r>
              <a:rPr lang="en-US" sz="1867" dirty="0">
                <a:latin typeface="Gill Sans MT" panose="020B0502020104020203" pitchFamily="34" charset="0"/>
              </a:rPr>
              <a:t>               - Comprehensive and Progressive Agreement for Trans-Pacific Partnership (CPTPP) (2018)</a:t>
            </a:r>
          </a:p>
          <a:p>
            <a:pPr lvl="7"/>
            <a:endParaRPr lang="en-US" sz="1867" dirty="0">
              <a:latin typeface="Gill Sans MT" panose="020B0502020104020203" pitchFamily="34" charset="0"/>
            </a:endParaRPr>
          </a:p>
          <a:p>
            <a:pPr lvl="7"/>
            <a:r>
              <a:rPr lang="en-US" sz="1867" dirty="0">
                <a:latin typeface="Gill Sans MT" panose="020B0502020104020203" pitchFamily="34" charset="0"/>
              </a:rPr>
              <a:t>               - United States-Mexico-Canada Agreement (USMCA), which endorsed the CBPR system (2020)</a:t>
            </a:r>
          </a:p>
          <a:p>
            <a:pPr lvl="7"/>
            <a:endParaRPr lang="en-US" sz="1867" dirty="0">
              <a:latin typeface="Gill Sans MT" panose="020B0502020104020203" pitchFamily="34" charset="0"/>
            </a:endParaRPr>
          </a:p>
          <a:p>
            <a:pPr lvl="7"/>
            <a:r>
              <a:rPr lang="en-US" sz="1867" dirty="0">
                <a:latin typeface="Gill Sans MT" panose="020B0502020104020203" pitchFamily="34" charset="0"/>
              </a:rPr>
              <a:t>               - Digital Economy Partnerships Agreement (DEPA), with Chile, New Zealand, Singapore (2020)</a:t>
            </a:r>
          </a:p>
          <a:p>
            <a:endParaRPr lang="en-US" sz="1867" b="1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2323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39E5B3C-8A98-4543-A7B4-D8FF7B8768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58" y="514253"/>
            <a:ext cx="7996329" cy="697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867" b="1" dirty="0">
                <a:solidFill>
                  <a:schemeClr val="tx1"/>
                </a:solidFill>
                <a:latin typeface="Gill Sans MT" panose="020B050202010402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ivacy-Enhancing Computation Techniques</a:t>
            </a:r>
            <a:endParaRPr lang="en-US" altLang="en-US" sz="1867" dirty="0">
              <a:solidFill>
                <a:schemeClr val="tx1"/>
              </a:solidFill>
            </a:endParaRPr>
          </a:p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186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C113ACB2-ECA8-4D63-B5CE-963437FD5C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5544" y="4843402"/>
            <a:ext cx="1799373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067" dirty="0">
                <a:solidFill>
                  <a:schemeClr val="tx1"/>
                </a:solidFill>
                <a:latin typeface="Arial" panose="020B0604020202020204" pitchFamily="34" charset="0"/>
                <a:ea typeface="Gill Sans MT" panose="020B0502020104020203" pitchFamily="34" charset="0"/>
              </a:rPr>
              <a:t>Source: Gartner.</a:t>
            </a:r>
            <a:endParaRPr lang="en-US" altLang="en-US" sz="1067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8B2120-2DC4-4CF7-A95D-6CBA78653D5D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14"/>
          <a:stretch/>
        </p:blipFill>
        <p:spPr bwMode="auto">
          <a:xfrm>
            <a:off x="471055" y="1270767"/>
            <a:ext cx="7048324" cy="352410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90E364-AFF1-47D6-8A33-8127EB83AE2A}"/>
              </a:ext>
            </a:extLst>
          </p:cNvPr>
          <p:cNvSpPr txBox="1"/>
          <p:nvPr/>
        </p:nvSpPr>
        <p:spPr>
          <a:xfrm>
            <a:off x="8070428" y="1222203"/>
            <a:ext cx="3396845" cy="38275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>
                <a:latin typeface="Gill Sans MT" panose="020B0502020104020203" pitchFamily="34" charset="0"/>
              </a:rPr>
              <a:t>Forecasts: by 2025, 50% of large organizations will seek to adopt privacy-enhancing computation for processing data in multiparty data analytics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en-US" sz="1867" dirty="0">
              <a:latin typeface="Gill Sans MT" panose="020B0502020104020203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1867" dirty="0">
                <a:latin typeface="Gill Sans MT" panose="020B0502020104020203" pitchFamily="34" charset="0"/>
              </a:rPr>
              <a:t>When fashioning data transfer policies, African governments could also support firms in piloting, adopting, and using these emerging technologies </a:t>
            </a:r>
          </a:p>
        </p:txBody>
      </p:sp>
    </p:spTree>
    <p:extLst>
      <p:ext uri="{BB962C8B-B14F-4D97-AF65-F5344CB8AC3E}">
        <p14:creationId xmlns:p14="http://schemas.microsoft.com/office/powerpoint/2010/main" val="13452441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D53C59E-99A8-484F-A8C7-3CE13AD89D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6943" y="3429000"/>
            <a:ext cx="8534400" cy="1741915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rgbClr val="27A8E0"/>
                </a:solidFill>
                <a:latin typeface="Gill Sans" panose="020B0604020202020204" charset="0"/>
              </a:rPr>
              <a:t>Thank you</a:t>
            </a:r>
          </a:p>
        </p:txBody>
      </p:sp>
      <p:pic>
        <p:nvPicPr>
          <p:cNvPr id="6" name="Picture 5" descr="A picture containing star&#10;&#10;Description automatically generated">
            <a:extLst>
              <a:ext uri="{FF2B5EF4-FFF2-40B4-BE49-F238E27FC236}">
                <a16:creationId xmlns:a16="http://schemas.microsoft.com/office/drawing/2014/main" id="{F5CF304C-4BDE-4034-A233-8E94874C0DA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37"/>
            <a:ext cx="12192000" cy="243692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B1C2E77-B8BC-4B5E-904B-4AB0B1039EFA}"/>
              </a:ext>
            </a:extLst>
          </p:cNvPr>
          <p:cNvGrpSpPr/>
          <p:nvPr/>
        </p:nvGrpSpPr>
        <p:grpSpPr>
          <a:xfrm>
            <a:off x="-301897" y="5430808"/>
            <a:ext cx="6576040" cy="1653165"/>
            <a:chOff x="-226423" y="4073106"/>
            <a:chExt cx="4932030" cy="1239874"/>
          </a:xfrm>
        </p:grpSpPr>
        <p:pic>
          <p:nvPicPr>
            <p:cNvPr id="7" name="Picture 6" descr="A close up of a sign&#10;&#10;Description automatically generated">
              <a:extLst>
                <a:ext uri="{FF2B5EF4-FFF2-40B4-BE49-F238E27FC236}">
                  <a16:creationId xmlns:a16="http://schemas.microsoft.com/office/drawing/2014/main" id="{10D5ED7C-3B2F-4AB6-B16E-870DE0A78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68692" y="4351507"/>
              <a:ext cx="1536915" cy="680595"/>
            </a:xfrm>
            <a:prstGeom prst="rect">
              <a:avLst/>
            </a:prstGeom>
          </p:spPr>
        </p:pic>
        <p:pic>
          <p:nvPicPr>
            <p:cNvPr id="8" name="Picture 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2046DA06-7460-496E-9B5E-253056F13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26423" y="4073106"/>
              <a:ext cx="3187337" cy="1239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42780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2E04E26-A97C-4304-8FB4-253FD8D0CF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0122" y="129309"/>
            <a:ext cx="9630833" cy="6728691"/>
          </a:xfrm>
          <a:prstGeom prst="rect">
            <a:avLst/>
          </a:prstGeom>
        </p:spPr>
      </p:pic>
      <p:sp>
        <p:nvSpPr>
          <p:cNvPr id="114" name="Google Shape;114;p17"/>
          <p:cNvSpPr txBox="1"/>
          <p:nvPr/>
        </p:nvSpPr>
        <p:spPr>
          <a:xfrm>
            <a:off x="79934" y="1067333"/>
            <a:ext cx="2019079" cy="43451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/>
            <a:r>
              <a:rPr lang="it-IT" sz="2133" dirty="0">
                <a:solidFill>
                  <a:schemeClr val="tx1"/>
                </a:solidFill>
                <a:latin typeface="Gill Sans"/>
                <a:ea typeface="Gill Sans"/>
                <a:cs typeface="Gill Sans"/>
                <a:sym typeface="Gill Sans"/>
              </a:rPr>
              <a:t>Making more Ds and Cs into As and Bs </a:t>
            </a:r>
            <a:r>
              <a:rPr lang="it-IT" sz="2133" dirty="0">
                <a:solidFill>
                  <a:schemeClr val="tx1"/>
                </a:solidFill>
                <a:latin typeface="Gill Sans"/>
                <a:ea typeface="Gill Sans"/>
                <a:cs typeface="Gill Sans"/>
                <a:sym typeface="Wingdings" panose="05000000000000000000" pitchFamily="2" charset="2"/>
              </a:rPr>
              <a:t> requires MSME digital transformation, better enabling environment for ecommerce </a:t>
            </a:r>
            <a:endParaRPr sz="2133" dirty="0">
              <a:solidFill>
                <a:schemeClr val="tx1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" name="Arrow: Up 1">
            <a:extLst>
              <a:ext uri="{FF2B5EF4-FFF2-40B4-BE49-F238E27FC236}">
                <a16:creationId xmlns:a16="http://schemas.microsoft.com/office/drawing/2014/main" id="{DF81E99C-FAFA-4F6B-A7A3-632394E6D84B}"/>
              </a:ext>
            </a:extLst>
          </p:cNvPr>
          <p:cNvSpPr/>
          <p:nvPr/>
        </p:nvSpPr>
        <p:spPr>
          <a:xfrm>
            <a:off x="2194567" y="92364"/>
            <a:ext cx="592175" cy="2660072"/>
          </a:xfrm>
          <a:prstGeom prst="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SV" sz="1867"/>
          </a:p>
        </p:txBody>
      </p:sp>
      <p:sp>
        <p:nvSpPr>
          <p:cNvPr id="3" name="Arrow: Up 2">
            <a:extLst>
              <a:ext uri="{FF2B5EF4-FFF2-40B4-BE49-F238E27FC236}">
                <a16:creationId xmlns:a16="http://schemas.microsoft.com/office/drawing/2014/main" id="{C7A982BC-8626-4500-875D-25DDA70A0570}"/>
              </a:ext>
            </a:extLst>
          </p:cNvPr>
          <p:cNvSpPr/>
          <p:nvPr/>
        </p:nvSpPr>
        <p:spPr>
          <a:xfrm rot="5400000">
            <a:off x="10071335" y="4706853"/>
            <a:ext cx="565259" cy="3325091"/>
          </a:xfrm>
          <a:prstGeom prst="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SV" sz="1867"/>
          </a:p>
        </p:txBody>
      </p:sp>
    </p:spTree>
    <p:extLst>
      <p:ext uri="{BB962C8B-B14F-4D97-AF65-F5344CB8AC3E}">
        <p14:creationId xmlns:p14="http://schemas.microsoft.com/office/powerpoint/2010/main" val="30002006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87615" y="1155343"/>
            <a:ext cx="1999803" cy="45473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Firms and especially online seller - exporters </a:t>
            </a:r>
            <a:r>
              <a:rPr lang="it-IT" sz="2000" b="1" u="sng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export and import data</a:t>
            </a: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: </a:t>
            </a:r>
          </a:p>
          <a:p>
            <a:pPr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data transfer is critical for MSMEs that export using ecommerce 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AE9DFD-1D45-4537-BD89-BD30ADEBC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5200" y="0"/>
            <a:ext cx="9707417" cy="6541653"/>
          </a:xfrm>
          <a:prstGeom prst="rect">
            <a:avLst/>
          </a:prstGeom>
        </p:spPr>
      </p:pic>
      <p:sp>
        <p:nvSpPr>
          <p:cNvPr id="5" name="Google Shape;86;p14">
            <a:extLst>
              <a:ext uri="{FF2B5EF4-FFF2-40B4-BE49-F238E27FC236}">
                <a16:creationId xmlns:a16="http://schemas.microsoft.com/office/drawing/2014/main" id="{BEE16319-5886-4A90-BAB6-28C18EFDB1CE}"/>
              </a:ext>
            </a:extLst>
          </p:cNvPr>
          <p:cNvSpPr txBox="1"/>
          <p:nvPr/>
        </p:nvSpPr>
        <p:spPr>
          <a:xfrm>
            <a:off x="18473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it-IT" sz="1067" dirty="0">
                <a:solidFill>
                  <a:srgbClr val="999999"/>
                </a:solidFill>
                <a:latin typeface="Gill Sans MT" panose="020B0502020104020203" pitchFamily="34" charset="0"/>
              </a:rPr>
              <a:t>Source: Suominen and Vambell (2021)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681F23-3B62-42FC-8AD9-45E0DFB24249}"/>
              </a:ext>
            </a:extLst>
          </p:cNvPr>
          <p:cNvSpPr/>
          <p:nvPr/>
        </p:nvSpPr>
        <p:spPr>
          <a:xfrm>
            <a:off x="2235200" y="1155343"/>
            <a:ext cx="9707417" cy="702032"/>
          </a:xfrm>
          <a:prstGeom prst="rect">
            <a:avLst/>
          </a:prstGeom>
          <a:solidFill>
            <a:srgbClr val="C00000">
              <a:alpha val="10196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316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383178" y="31373"/>
            <a:ext cx="11138263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Data use cases among African SMEs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26D6BF8-5A1D-A526-2363-F9A69641AC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6130" y="826586"/>
            <a:ext cx="965146" cy="96514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FB8C5A6-2307-7AD6-517A-E7E12FC19CBE}"/>
              </a:ext>
            </a:extLst>
          </p:cNvPr>
          <p:cNvSpPr txBox="1"/>
          <p:nvPr/>
        </p:nvSpPr>
        <p:spPr>
          <a:xfrm>
            <a:off x="1058862" y="2650158"/>
            <a:ext cx="4970461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  <a:latin typeface="Gill Sans" panose="020B0604020202020204" charset="0"/>
              </a:rPr>
              <a:t>MARKETFORCE – East and West Africa</a:t>
            </a:r>
          </a:p>
          <a:p>
            <a:endParaRPr lang="en-US" dirty="0">
              <a:latin typeface="Gill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" panose="020B0604020202020204" charset="0"/>
              </a:rPr>
              <a:t>Enables  manufacturers, distributors, retailers, financial service providers, and sales agents to source, order, and pay for goods and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" panose="020B0604020202020204" charset="0"/>
            </a:endParaRPr>
          </a:p>
          <a:p>
            <a:r>
              <a:rPr lang="en-US" dirty="0">
                <a:latin typeface="Gill Sans" panose="020B0604020202020204" charset="0"/>
              </a:rPr>
              <a:t>Uses data: </a:t>
            </a:r>
          </a:p>
          <a:p>
            <a:endParaRPr lang="en-US" dirty="0">
              <a:latin typeface="Gill Sans" panose="020B0604020202020204" charset="0"/>
            </a:endParaRP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" panose="020B0604020202020204" charset="0"/>
              </a:rPr>
              <a:t>Understand needs and challenges across various value cha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" panose="020B0604020202020204" charset="0"/>
              </a:rPr>
              <a:t>Tailor offerings to meet customers’ preferen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" panose="020B0604020202020204" charset="0"/>
              </a:rPr>
              <a:t>Identify and address operational in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" panose="020B0604020202020204" charset="0"/>
              </a:rPr>
              <a:t>Forecast demand and to provide financial services, including credit or remitting commissions. </a:t>
            </a:r>
          </a:p>
          <a:p>
            <a:endParaRPr lang="en-US" dirty="0">
              <a:latin typeface="Gill Sans" panose="020B0604020202020204" charset="0"/>
            </a:endParaRPr>
          </a:p>
          <a:p>
            <a:r>
              <a:rPr lang="en-US" dirty="0">
                <a:latin typeface="Gill Sans" panose="020B0604020202020204" charset="0"/>
              </a:rPr>
              <a:t>AI engine allows it to access datasets and inputs that are the foundation for predictive analytic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B3595B8-A6F2-5D20-4A56-4A876ECFEAFB}"/>
              </a:ext>
            </a:extLst>
          </p:cNvPr>
          <p:cNvSpPr txBox="1"/>
          <p:nvPr/>
        </p:nvSpPr>
        <p:spPr>
          <a:xfrm>
            <a:off x="6800854" y="2672239"/>
            <a:ext cx="4825362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  <a:latin typeface="Gill Sans MT" panose="020B0502020104020203" pitchFamily="34" charset="0"/>
              </a:rPr>
              <a:t>HIBRET - Ethiopi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 MT" panose="020B05020201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 MT" panose="020B0502020104020203" pitchFamily="34" charset="0"/>
              </a:rPr>
              <a:t>Financial services for companies, non-profits, and individu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 MT" panose="020B05020201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 MT" panose="020B0502020104020203" pitchFamily="34" charset="0"/>
              </a:rPr>
              <a:t>385 branches connected to HQ data cen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Gill Sans MT" panose="020B0502020104020203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 MT" panose="020B0502020104020203" pitchFamily="34" charset="0"/>
              </a:rPr>
              <a:t>Transactions captured on Oracle FLEXCUBE</a:t>
            </a:r>
          </a:p>
          <a:p>
            <a:endParaRPr lang="en-US" dirty="0">
              <a:latin typeface="Gill Sans MT" panose="020B0502020104020203" pitchFamily="34" charset="0"/>
            </a:endParaRPr>
          </a:p>
          <a:p>
            <a:r>
              <a:rPr lang="en-US" dirty="0">
                <a:latin typeface="Gill Sans MT" panose="020B0502020104020203" pitchFamily="34" charset="0"/>
              </a:rPr>
              <a:t>Uses data: </a:t>
            </a:r>
          </a:p>
          <a:p>
            <a:endParaRPr lang="en-US" dirty="0">
              <a:latin typeface="Gill Sans MT" panose="020B0502020104020203" pitchFamily="34" charset="0"/>
            </a:endParaRP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 MT" panose="020B0502020104020203" pitchFamily="34" charset="0"/>
              </a:rPr>
              <a:t>Assess asset quality and repayment schedules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endParaRPr lang="en-US" dirty="0">
              <a:latin typeface="Gill Sans MT" panose="020B0502020104020203" pitchFamily="34" charset="0"/>
            </a:endParaRP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 MT" panose="020B0502020104020203" pitchFamily="34" charset="0"/>
              </a:rPr>
              <a:t>Protect against fraud </a:t>
            </a:r>
            <a:r>
              <a:rPr lang="en-US" dirty="0">
                <a:latin typeface="Gill Sans MT" panose="020B0502020104020203" pitchFamily="34" charset="0"/>
                <a:sym typeface="Wingdings" panose="05000000000000000000" pitchFamily="2" charset="2"/>
              </a:rPr>
              <a:t> </a:t>
            </a:r>
            <a:r>
              <a:rPr lang="en-US" dirty="0">
                <a:latin typeface="Gill Sans MT" panose="020B0502020104020203" pitchFamily="34" charset="0"/>
              </a:rPr>
              <a:t>flag a suspicious account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endParaRPr lang="en-US" dirty="0">
              <a:latin typeface="Gill Sans MT" panose="020B0502020104020203" pitchFamily="34" charset="0"/>
            </a:endParaRP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dirty="0">
                <a:latin typeface="Gill Sans MT" panose="020B0502020104020203" pitchFamily="34" charset="0"/>
              </a:rPr>
              <a:t>Ideally move to cloud-base s storage on remote service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endParaRPr lang="en-US" dirty="0">
              <a:latin typeface="Gill Sans MT" panose="020B0502020104020203" pitchFamily="34" charset="0"/>
            </a:endParaRPr>
          </a:p>
          <a:p>
            <a:r>
              <a:rPr lang="en-US" dirty="0">
                <a:latin typeface="Gill Sans MT" panose="020B0502020104020203" pitchFamily="34" charset="0"/>
              </a:rPr>
              <a:t>“Data is like gas or petroleum for us” - </a:t>
            </a:r>
            <a:r>
              <a:rPr lang="en-US" dirty="0" err="1">
                <a:latin typeface="Gill Sans MT" panose="020B0502020104020203" pitchFamily="34" charset="0"/>
              </a:rPr>
              <a:t>Melaku</a:t>
            </a:r>
            <a:r>
              <a:rPr lang="en-US" dirty="0">
                <a:latin typeface="Gill Sans MT" panose="020B0502020104020203" pitchFamily="34" charset="0"/>
              </a:rPr>
              <a:t> Kebede, CEO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577BAC3-8393-39A1-41D5-E2D4D74F5E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2807" y="806489"/>
            <a:ext cx="2879376" cy="161964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56DEDE78-AECB-F7FF-D524-54AEBDF8A37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859" t="30431" r="19609" b="33575"/>
          <a:stretch/>
        </p:blipFill>
        <p:spPr>
          <a:xfrm>
            <a:off x="2002626" y="826586"/>
            <a:ext cx="2472266" cy="161965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81B5DB7-5966-E9E7-9D51-ED84B1C09D90}"/>
              </a:ext>
            </a:extLst>
          </p:cNvPr>
          <p:cNvCxnSpPr>
            <a:cxnSpLocks/>
          </p:cNvCxnSpPr>
          <p:nvPr/>
        </p:nvCxnSpPr>
        <p:spPr>
          <a:xfrm>
            <a:off x="6286500" y="2753954"/>
            <a:ext cx="0" cy="39069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19B4E42B-D6CE-5A7E-D49E-CBF1BEDDCD8D}"/>
              </a:ext>
            </a:extLst>
          </p:cNvPr>
          <p:cNvSpPr txBox="1"/>
          <p:nvPr/>
        </p:nvSpPr>
        <p:spPr>
          <a:xfrm>
            <a:off x="7924799" y="6580406"/>
            <a:ext cx="437769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www.allianceforetradedevelopment.org/msme-data-use-cases</a:t>
            </a:r>
          </a:p>
        </p:txBody>
      </p:sp>
    </p:spTree>
    <p:extLst>
      <p:ext uri="{BB962C8B-B14F-4D97-AF65-F5344CB8AC3E}">
        <p14:creationId xmlns:p14="http://schemas.microsoft.com/office/powerpoint/2010/main" val="11964052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366199E-08E4-47CA-AB42-D59E5C0002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8871" y="591291"/>
            <a:ext cx="8431904" cy="4922819"/>
          </a:xfrm>
          <a:prstGeom prst="rect">
            <a:avLst/>
          </a:prstGeom>
        </p:spPr>
      </p:pic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383178" y="0"/>
            <a:ext cx="11138263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9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Different models: «fragmentation» around the world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pic>
        <p:nvPicPr>
          <p:cNvPr id="6" name="Picture 5" descr="Text, letter&#10;&#10;Description automatically generated">
            <a:extLst>
              <a:ext uri="{FF2B5EF4-FFF2-40B4-BE49-F238E27FC236}">
                <a16:creationId xmlns:a16="http://schemas.microsoft.com/office/drawing/2014/main" id="{B38E7DA6-E659-42F7-8869-F087277C5BC5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396" y="5199381"/>
            <a:ext cx="7921414" cy="1658620"/>
          </a:xfrm>
          <a:prstGeom prst="rect">
            <a:avLst/>
          </a:prstGeom>
        </p:spPr>
      </p:pic>
      <p:sp>
        <p:nvSpPr>
          <p:cNvPr id="7" name="Google Shape;86;p14">
            <a:extLst>
              <a:ext uri="{FF2B5EF4-FFF2-40B4-BE49-F238E27FC236}">
                <a16:creationId xmlns:a16="http://schemas.microsoft.com/office/drawing/2014/main" id="{64334F01-7C83-4CC3-9C3A-26A04F650D1C}"/>
              </a:ext>
            </a:extLst>
          </p:cNvPr>
          <p:cNvSpPr txBox="1"/>
          <p:nvPr/>
        </p:nvSpPr>
        <p:spPr>
          <a:xfrm>
            <a:off x="9822740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81"/>
            <a:r>
              <a:rPr lang="it-IT" sz="1067" dirty="0">
                <a:solidFill>
                  <a:srgbClr val="999999"/>
                </a:solidFill>
                <a:latin typeface="Gill Sans MT" panose="020B0502020104020203" pitchFamily="34" charset="0"/>
                <a:ea typeface="+mn-ea"/>
              </a:rPr>
              <a:t>Source: Suominen and Vambell (2021) </a:t>
            </a:r>
          </a:p>
        </p:txBody>
      </p:sp>
    </p:spTree>
    <p:extLst>
      <p:ext uri="{BB962C8B-B14F-4D97-AF65-F5344CB8AC3E}">
        <p14:creationId xmlns:p14="http://schemas.microsoft.com/office/powerpoint/2010/main" val="11803662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1" y="-588"/>
            <a:ext cx="12192000" cy="8226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Surveyed African firms find regulations as clarifying – </a:t>
            </a:r>
          </a:p>
          <a:p>
            <a:pPr algn="ctr"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but especially small firms still know only a little about regulations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5A05979-74A6-4C8F-89FE-9CA70B0E55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070" y="1958111"/>
            <a:ext cx="5307925" cy="342669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F45293-FE34-4814-B3F6-5750E90B683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972"/>
          <a:stretch/>
        </p:blipFill>
        <p:spPr>
          <a:xfrm>
            <a:off x="5826440" y="1820897"/>
            <a:ext cx="6291669" cy="41198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3CDA5CB-D220-4761-A4FD-647B57735C5E}"/>
              </a:ext>
            </a:extLst>
          </p:cNvPr>
          <p:cNvSpPr txBox="1"/>
          <p:nvPr/>
        </p:nvSpPr>
        <p:spPr>
          <a:xfrm>
            <a:off x="6096000" y="1205345"/>
            <a:ext cx="6096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" panose="020B0604020202020204" charset="0"/>
              </a:rPr>
              <a:t>African firms’ knowledge of data privacy and transfer regulations in their countries, by firm siz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E43CFCE-B4D8-4A2F-9D3A-0EC572EB9D7B}"/>
              </a:ext>
            </a:extLst>
          </p:cNvPr>
          <p:cNvSpPr txBox="1"/>
          <p:nvPr/>
        </p:nvSpPr>
        <p:spPr>
          <a:xfrm>
            <a:off x="293858" y="1205346"/>
            <a:ext cx="541080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" panose="020B0604020202020204" charset="0"/>
              </a:rPr>
              <a:t>African firms’ views on data privacy and transfer regulations in their countries</a:t>
            </a:r>
          </a:p>
        </p:txBody>
      </p:sp>
      <p:sp>
        <p:nvSpPr>
          <p:cNvPr id="10" name="Google Shape;86;p14">
            <a:extLst>
              <a:ext uri="{FF2B5EF4-FFF2-40B4-BE49-F238E27FC236}">
                <a16:creationId xmlns:a16="http://schemas.microsoft.com/office/drawing/2014/main" id="{8760AA7F-DB1F-452D-9D65-15F835613616}"/>
              </a:ext>
            </a:extLst>
          </p:cNvPr>
          <p:cNvSpPr txBox="1"/>
          <p:nvPr/>
        </p:nvSpPr>
        <p:spPr>
          <a:xfrm>
            <a:off x="18473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it-IT" sz="1067" dirty="0">
                <a:solidFill>
                  <a:srgbClr val="999999"/>
                </a:solidFill>
                <a:latin typeface="Gill Sans MT" panose="020B0502020104020203" pitchFamily="34" charset="0"/>
              </a:rPr>
              <a:t>Source: Suominen and Vambell (2021)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42C719-949A-D4C6-F59E-927F9D363610}"/>
              </a:ext>
            </a:extLst>
          </p:cNvPr>
          <p:cNvSpPr txBox="1"/>
          <p:nvPr/>
        </p:nvSpPr>
        <p:spPr>
          <a:xfrm>
            <a:off x="2438401" y="6564652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https://www.allianceforetradedevelopment.org/data-transfer-in-africa</a:t>
            </a:r>
          </a:p>
        </p:txBody>
      </p:sp>
    </p:spTree>
    <p:extLst>
      <p:ext uri="{BB962C8B-B14F-4D97-AF65-F5344CB8AC3E}">
        <p14:creationId xmlns:p14="http://schemas.microsoft.com/office/powerpoint/2010/main" val="3299248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8;p19">
            <a:extLst>
              <a:ext uri="{FF2B5EF4-FFF2-40B4-BE49-F238E27FC236}">
                <a16:creationId xmlns:a16="http://schemas.microsoft.com/office/drawing/2014/main" id="{D63C6461-AF26-4A49-BA9D-F74C52269E6E}"/>
              </a:ext>
            </a:extLst>
          </p:cNvPr>
          <p:cNvSpPr txBox="1"/>
          <p:nvPr/>
        </p:nvSpPr>
        <p:spPr>
          <a:xfrm>
            <a:off x="410887" y="-587"/>
            <a:ext cx="11138263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algn="ctr"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Surveyed African firms do not take data transfer to third parties lightly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CDA5CB-D220-4761-A4FD-647B57735C5E}"/>
              </a:ext>
            </a:extLst>
          </p:cNvPr>
          <p:cNvSpPr txBox="1"/>
          <p:nvPr/>
        </p:nvSpPr>
        <p:spPr>
          <a:xfrm>
            <a:off x="1634835" y="590705"/>
            <a:ext cx="848821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" panose="020B0604020202020204" charset="0"/>
              </a:rPr>
              <a:t>“Are you concerned about how a recipient of the data you transfer uses it?”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2E55D2-E63B-4BC6-94DC-9A210A369C6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661"/>
          <a:stretch/>
        </p:blipFill>
        <p:spPr>
          <a:xfrm>
            <a:off x="2239385" y="1043984"/>
            <a:ext cx="7713230" cy="552066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E1A022C-F43A-28D2-BAB2-3215C551969F}"/>
              </a:ext>
            </a:extLst>
          </p:cNvPr>
          <p:cNvSpPr txBox="1"/>
          <p:nvPr/>
        </p:nvSpPr>
        <p:spPr>
          <a:xfrm>
            <a:off x="46182" y="6564652"/>
            <a:ext cx="848821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https://www.allianceforetradedevelopment.org/data-transfer-in-africa</a:t>
            </a:r>
          </a:p>
        </p:txBody>
      </p:sp>
    </p:spTree>
    <p:extLst>
      <p:ext uri="{BB962C8B-B14F-4D97-AF65-F5344CB8AC3E}">
        <p14:creationId xmlns:p14="http://schemas.microsoft.com/office/powerpoint/2010/main" val="3267983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28;p19">
            <a:extLst>
              <a:ext uri="{FF2B5EF4-FFF2-40B4-BE49-F238E27FC236}">
                <a16:creationId xmlns:a16="http://schemas.microsoft.com/office/drawing/2014/main" id="{E71CAC22-3AD2-4BED-8FE3-8323D3370E18}"/>
              </a:ext>
            </a:extLst>
          </p:cNvPr>
          <p:cNvSpPr txBox="1"/>
          <p:nvPr/>
        </p:nvSpPr>
        <p:spPr>
          <a:xfrm>
            <a:off x="243839" y="1080756"/>
            <a:ext cx="2612572" cy="591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9" tIns="120929" rIns="120929" bIns="120929" anchor="t" anchorCtr="0">
            <a:noAutofit/>
          </a:bodyPr>
          <a:lstStyle/>
          <a:p>
            <a:pPr defTabSz="604693">
              <a:lnSpc>
                <a:spcPct val="115000"/>
              </a:lnSpc>
              <a:buClrTx/>
              <a:defRPr/>
            </a:pPr>
            <a:r>
              <a:rPr lang="en-US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African firms’ main perceived </a:t>
            </a:r>
            <a:r>
              <a:rPr lang="en-US" sz="2000" b="1" u="sng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policy  challenges</a:t>
            </a:r>
            <a:r>
              <a:rPr lang="en-US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 in </a:t>
            </a:r>
            <a:r>
              <a:rPr lang="en-US" sz="2000" b="1" u="sng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exporting</a:t>
            </a:r>
            <a:r>
              <a:rPr lang="en-US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 products or services </a:t>
            </a: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online – </a:t>
            </a:r>
          </a:p>
          <a:p>
            <a:pPr defTabSz="604693">
              <a:lnSpc>
                <a:spcPct val="115000"/>
              </a:lnSpc>
              <a:buClrTx/>
              <a:defRPr/>
            </a:pPr>
            <a:endParaRPr lang="it-IT" sz="2000" b="1" dirty="0">
              <a:solidFill>
                <a:prstClr val="black"/>
              </a:solidFill>
              <a:latin typeface="Gill Sans MT"/>
              <a:ea typeface="Gill Sans"/>
              <a:cs typeface="Gill Sans"/>
              <a:sym typeface="Gill Sans"/>
            </a:endParaRPr>
          </a:p>
          <a:p>
            <a:pPr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worry about </a:t>
            </a:r>
          </a:p>
          <a:p>
            <a:pPr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1. compliance with foreign data privacy rules and </a:t>
            </a:r>
          </a:p>
          <a:p>
            <a:pPr defTabSz="604693">
              <a:lnSpc>
                <a:spcPct val="115000"/>
              </a:lnSpc>
              <a:buClrTx/>
              <a:defRPr/>
            </a:pPr>
            <a:r>
              <a:rPr lang="it-IT" sz="2000" b="1" dirty="0">
                <a:solidFill>
                  <a:prstClr val="black"/>
                </a:solidFill>
                <a:latin typeface="Gill Sans MT"/>
                <a:ea typeface="Gill Sans"/>
                <a:cs typeface="Gill Sans"/>
                <a:sym typeface="Gill Sans"/>
              </a:rPr>
              <a:t>2.  regulatory fragmentation</a:t>
            </a:r>
            <a:endParaRPr sz="2000" b="1" kern="1200" dirty="0">
              <a:solidFill>
                <a:srgbClr val="6C6463"/>
              </a:solidFill>
              <a:latin typeface="Gill Sans MT"/>
              <a:ea typeface="+mn-ea"/>
              <a:sym typeface="Gill Sans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59D9A989-6D1E-44A4-BCA3-778B738FA33A}"/>
              </a:ext>
            </a:extLst>
          </p:cNvPr>
          <p:cNvSpPr/>
          <p:nvPr/>
        </p:nvSpPr>
        <p:spPr>
          <a:xfrm>
            <a:off x="3557409" y="778523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BF643F48-8253-4FD7-8EBE-1E76B87DFB69}"/>
              </a:ext>
            </a:extLst>
          </p:cNvPr>
          <p:cNvSpPr/>
          <p:nvPr/>
        </p:nvSpPr>
        <p:spPr>
          <a:xfrm>
            <a:off x="3557409" y="84572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BE10E5B-E840-4ECD-8A9B-1730CD8E69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809" y="40406"/>
            <a:ext cx="6558009" cy="6858001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A1FFD8D-2CDA-4A1B-98B3-575263BBCCBB}"/>
              </a:ext>
            </a:extLst>
          </p:cNvPr>
          <p:cNvSpPr/>
          <p:nvPr/>
        </p:nvSpPr>
        <p:spPr>
          <a:xfrm>
            <a:off x="3557409" y="4828375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2142EB18-7E3D-413F-9C18-D73A9144A407}"/>
              </a:ext>
            </a:extLst>
          </p:cNvPr>
          <p:cNvSpPr/>
          <p:nvPr/>
        </p:nvSpPr>
        <p:spPr>
          <a:xfrm>
            <a:off x="3557409" y="3469405"/>
            <a:ext cx="871635" cy="444139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oogle Shape;86;p14">
            <a:extLst>
              <a:ext uri="{FF2B5EF4-FFF2-40B4-BE49-F238E27FC236}">
                <a16:creationId xmlns:a16="http://schemas.microsoft.com/office/drawing/2014/main" id="{9C9EF9E4-8CE8-459E-978C-263B756E4D19}"/>
              </a:ext>
            </a:extLst>
          </p:cNvPr>
          <p:cNvSpPr txBox="1"/>
          <p:nvPr/>
        </p:nvSpPr>
        <p:spPr>
          <a:xfrm>
            <a:off x="18473" y="6476999"/>
            <a:ext cx="2419928" cy="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it-IT" sz="1067" dirty="0">
                <a:solidFill>
                  <a:srgbClr val="999999"/>
                </a:solidFill>
                <a:latin typeface="Gill Sans MT" panose="020B0502020104020203" pitchFamily="34" charset="0"/>
              </a:rPr>
              <a:t>Source: Suominen and Vambell (2021)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3440140-09BA-B85F-802E-BA69CAD07FA7}"/>
              </a:ext>
            </a:extLst>
          </p:cNvPr>
          <p:cNvSpPr txBox="1"/>
          <p:nvPr/>
        </p:nvSpPr>
        <p:spPr>
          <a:xfrm>
            <a:off x="2438401" y="6564652"/>
            <a:ext cx="60960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Gill Sans MT" panose="020B0502020104020203" pitchFamily="34" charset="0"/>
              </a:rPr>
              <a:t>https://www.allianceforetradedevelopment.org/data-transfer-in-africa</a:t>
            </a:r>
          </a:p>
        </p:txBody>
      </p:sp>
    </p:spTree>
    <p:extLst>
      <p:ext uri="{BB962C8B-B14F-4D97-AF65-F5344CB8AC3E}">
        <p14:creationId xmlns:p14="http://schemas.microsoft.com/office/powerpoint/2010/main" val="1079471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7" grpId="0" animBg="1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29"/>
          <p:cNvSpPr txBox="1"/>
          <p:nvPr/>
        </p:nvSpPr>
        <p:spPr>
          <a:xfrm>
            <a:off x="0" y="92653"/>
            <a:ext cx="12192000" cy="591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0925" tIns="120925" rIns="120925" bIns="120925" anchor="t" anchorCtr="0">
            <a:noAutofit/>
          </a:bodyPr>
          <a:lstStyle/>
          <a:p>
            <a:pPr marL="0" marR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Gill Sans"/>
              <a:buNone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Gill Sans"/>
                <a:ea typeface="Gill Sans"/>
                <a:cs typeface="Gill Sans"/>
                <a:sym typeface="Gill Sans"/>
              </a:rPr>
              <a:t>Fragmentation: Similarities (vs. Differences) in digital regulations in APEC</a:t>
            </a:r>
            <a:endParaRPr sz="2000" b="1" i="0" u="none" strike="noStrike" cap="none" dirty="0">
              <a:solidFill>
                <a:srgbClr val="6C6463"/>
              </a:solidFill>
              <a:highlight>
                <a:srgbClr val="FFFF00"/>
              </a:highlight>
              <a:latin typeface="Gill Sans"/>
              <a:ea typeface="Gill Sans"/>
              <a:cs typeface="Gill Sans"/>
              <a:sym typeface="Gill San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C25644-A32E-43D8-B239-5ADD7D33C1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74691" y="1514763"/>
            <a:ext cx="5519243" cy="338844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70C76D-E3D6-4E89-8B7F-859F70A7D6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066" y="1933340"/>
            <a:ext cx="6165789" cy="2753746"/>
          </a:xfrm>
          <a:prstGeom prst="rect">
            <a:avLst/>
          </a:prstGeom>
        </p:spPr>
      </p:pic>
      <p:sp>
        <p:nvSpPr>
          <p:cNvPr id="6" name="Google Shape;231;p31">
            <a:extLst>
              <a:ext uri="{FF2B5EF4-FFF2-40B4-BE49-F238E27FC236}">
                <a16:creationId xmlns:a16="http://schemas.microsoft.com/office/drawing/2014/main" id="{C8D8E67F-C6A3-4F78-84E3-5E65273B4738}"/>
              </a:ext>
            </a:extLst>
          </p:cNvPr>
          <p:cNvSpPr txBox="1"/>
          <p:nvPr/>
        </p:nvSpPr>
        <p:spPr>
          <a:xfrm>
            <a:off x="6948312" y="1000905"/>
            <a:ext cx="457200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7F7F7F"/>
                </a:solidFill>
                <a:latin typeface="Gill Sans"/>
                <a:sym typeface="Gill Sans"/>
              </a:rPr>
              <a:t>Pairwise similarity index – APEC economies</a:t>
            </a:r>
            <a:endParaRPr lang="en-US" dirty="0"/>
          </a:p>
        </p:txBody>
      </p:sp>
      <p:sp>
        <p:nvSpPr>
          <p:cNvPr id="7" name="Google Shape;232;p31">
            <a:extLst>
              <a:ext uri="{FF2B5EF4-FFF2-40B4-BE49-F238E27FC236}">
                <a16:creationId xmlns:a16="http://schemas.microsoft.com/office/drawing/2014/main" id="{75B77E49-2122-4889-91FD-CAFF0FDBFB4C}"/>
              </a:ext>
            </a:extLst>
          </p:cNvPr>
          <p:cNvSpPr txBox="1"/>
          <p:nvPr/>
        </p:nvSpPr>
        <p:spPr>
          <a:xfrm>
            <a:off x="765711" y="1034928"/>
            <a:ext cx="4572000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7F7F7F"/>
                </a:solidFill>
                <a:latin typeface="Gill Sans"/>
                <a:sym typeface="Gill Sans"/>
              </a:rPr>
              <a:t>Similarity index of digital regulations</a:t>
            </a:r>
            <a:endParaRPr dirty="0"/>
          </a:p>
        </p:txBody>
      </p:sp>
      <p:sp>
        <p:nvSpPr>
          <p:cNvPr id="8" name="Google Shape;246;p33">
            <a:extLst>
              <a:ext uri="{FF2B5EF4-FFF2-40B4-BE49-F238E27FC236}">
                <a16:creationId xmlns:a16="http://schemas.microsoft.com/office/drawing/2014/main" id="{28F67B16-9AD4-49C8-8C10-5EDC564895D8}"/>
              </a:ext>
            </a:extLst>
          </p:cNvPr>
          <p:cNvSpPr txBox="1"/>
          <p:nvPr/>
        </p:nvSpPr>
        <p:spPr>
          <a:xfrm>
            <a:off x="57731" y="6551860"/>
            <a:ext cx="4610689" cy="2565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67"/>
              <a:buFont typeface="Gill Sans"/>
              <a:buNone/>
            </a:pPr>
            <a:r>
              <a:rPr lang="en-US" sz="1067" b="0" i="0" u="none" strike="noStrike" cap="none" dirty="0">
                <a:solidFill>
                  <a:srgbClr val="7F7F7F"/>
                </a:solidFill>
                <a:latin typeface="Gill Sans"/>
                <a:ea typeface="Gill Sans"/>
                <a:cs typeface="Gill Sans"/>
                <a:sym typeface="Gill Sans"/>
              </a:rPr>
              <a:t>Source: Suominen, Vambell, </a:t>
            </a:r>
            <a:r>
              <a:rPr lang="en-US" sz="1067" b="0" i="0" u="none" strike="noStrike" cap="none" dirty="0" err="1">
                <a:solidFill>
                  <a:srgbClr val="7F7F7F"/>
                </a:solidFill>
                <a:latin typeface="Gill Sans"/>
                <a:ea typeface="Gill Sans"/>
                <a:cs typeface="Gill Sans"/>
                <a:sym typeface="Gill Sans"/>
              </a:rPr>
              <a:t>Furtek</a:t>
            </a:r>
            <a:r>
              <a:rPr lang="en-US" sz="1067" b="0" i="0" u="none" strike="noStrike" cap="none" dirty="0">
                <a:solidFill>
                  <a:srgbClr val="7F7F7F"/>
                </a:solidFill>
                <a:latin typeface="Gill Sans"/>
                <a:ea typeface="Gill Sans"/>
                <a:cs typeface="Gill Sans"/>
                <a:sym typeface="Gill Sans"/>
              </a:rPr>
              <a:t> (2021)</a:t>
            </a:r>
            <a:endParaRPr sz="1067" b="0" i="0" u="none" strike="noStrike" cap="none" dirty="0">
              <a:solidFill>
                <a:srgbClr val="7F7F7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_lK.dxBiKzLNTtTgcM_Q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7</TotalTime>
  <Words>937</Words>
  <Application>Microsoft Office PowerPoint</Application>
  <PresentationFormat>Widescreen</PresentationFormat>
  <Paragraphs>179</Paragraphs>
  <Slides>1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Gill Sans MT</vt:lpstr>
      <vt:lpstr>Calibri</vt:lpstr>
      <vt:lpstr>Times New Roman</vt:lpstr>
      <vt:lpstr>Calibri Light</vt:lpstr>
      <vt:lpstr>Gill Sans</vt:lpstr>
      <vt:lpstr>Arial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I SUOMINEN</dc:creator>
  <cp:lastModifiedBy>KATI SUOMINEN</cp:lastModifiedBy>
  <cp:revision>5</cp:revision>
  <dcterms:created xsi:type="dcterms:W3CDTF">2021-09-13T23:26:20Z</dcterms:created>
  <dcterms:modified xsi:type="dcterms:W3CDTF">2022-06-15T09:26:43Z</dcterms:modified>
</cp:coreProperties>
</file>